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fntdata" ContentType="application/x-fontdata"/>
  <Default Extension="bin" ContentType="application/vnd.openxmlformats-officedocument.oleObject"/>
  <Default Extension="png" ContentType="image/png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.xml" ContentType="application/vnd.openxmlformats-officedocument.theme+xml"/>
  <Override PartName="/ppt/slideMasters/slideMaster2.xml" ContentType="application/vnd.openxmlformats-officedocument.presentationml.slideMaster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Masters/slideMaster3.xml" ContentType="application/vnd.openxmlformats-officedocument.presentationml.slideMaster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notesSlides/notesSlide7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8.xml" ContentType="application/vnd.openxmlformats-officedocument.presentationml.notesSlide+xml"/>
  <Override PartName="/ppt/slides/slide9.xml" ContentType="application/vnd.openxmlformats-officedocument.presentationml.slide+xml"/>
  <Override PartName="/ppt/notesSlides/notesSlide9.xml" ContentType="application/vnd.openxmlformats-officedocument.presentationml.notesSlide+xml"/>
  <Override PartName="/ppt/slides/slide10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2.xml" ContentType="application/vnd.openxmlformats-officedocument.presentationml.slide+xml"/>
  <Override PartName="/ppt/notesSlides/notesSlide12.xml" ContentType="application/vnd.openxmlformats-officedocument.presentationml.notesSlide+xml"/>
  <Override PartName="/ppt/slides/slide13.xml" ContentType="application/vnd.openxmlformats-officedocument.presentationml.slide+xml"/>
  <Override PartName="/ppt/notesSlides/notesSlide13.xml" ContentType="application/vnd.openxmlformats-officedocument.presentationml.notesSlide+xml"/>
  <Override PartName="/ppt/slides/slide14.xml" ContentType="application/vnd.openxmlformats-officedocument.presentationml.slide+xml"/>
  <Override PartName="/ppt/notesSlides/notesSlide14.xml" ContentType="application/vnd.openxmlformats-officedocument.presentationml.notesSlide+xml"/>
  <Override PartName="/ppt/slides/slide15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16.xml" ContentType="application/vnd.openxmlformats-officedocument.presentationml.slide+xml"/>
  <Override PartName="/ppt/notesSlides/notesSlide16.xml" ContentType="application/vnd.openxmlformats-officedocument.presentationml.notesSlide+xml"/>
  <Override PartName="/ppt/slides/slide17.xml" ContentType="application/vnd.openxmlformats-officedocument.presentationml.slide+xml"/>
  <Override PartName="/ppt/notesSlides/notesSlide17.xml" ContentType="application/vnd.openxmlformats-officedocument.presentationml.notesSlide+xml"/>
  <Override PartName="/ppt/slides/slide18.xml" ContentType="application/vnd.openxmlformats-officedocument.presentationml.slide+xml"/>
  <Override PartName="/ppt/notesSlides/notesSlide18.xml" ContentType="application/vnd.openxmlformats-officedocument.presentationml.notesSlide+xml"/>
  <Override PartName="/ppt/slides/slide19.xml" ContentType="application/vnd.openxmlformats-officedocument.presentationml.slide+xml"/>
  <Override PartName="/ppt/notesSlides/notesSlide19.xml" ContentType="application/vnd.openxmlformats-officedocument.presentationml.notesSlide+xml"/>
  <Override PartName="/ppt/slides/slide20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21.xml" ContentType="application/vnd.openxmlformats-officedocument.presentationml.slide+xml"/>
  <Override PartName="/ppt/notesSlides/notesSlide21.xml" ContentType="application/vnd.openxmlformats-officedocument.presentationml.notesSlide+xml"/>
  <Override PartName="/ppt/slides/slide22.xml" ContentType="application/vnd.openxmlformats-officedocument.presentationml.slide+xml"/>
  <Override PartName="/ppt/notesSlides/notesSlide22.xml" ContentType="application/vnd.openxmlformats-officedocument.presentationml.notesSlide+xml"/>
  <Override PartName="/ppt/slides/slide23.xml" ContentType="application/vnd.openxmlformats-officedocument.presentationml.slide+xml"/>
  <Override PartName="/ppt/notesSlides/notesSlide23.xml" ContentType="application/vnd.openxmlformats-officedocument.presentationml.notesSlide+xml"/>
  <Override PartName="/ppt/slides/slide24.xml" ContentType="application/vnd.openxmlformats-officedocument.presentationml.slide+xml"/>
  <Override PartName="/ppt/notesSlides/notesSlide24.xml" ContentType="application/vnd.openxmlformats-officedocument.presentationml.notesSlide+xml"/>
  <Override PartName="/ppt/slides/slide25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26.xml" ContentType="application/vnd.openxmlformats-officedocument.presentationml.slide+xml"/>
  <Override PartName="/ppt/notesSlides/notesSlide26.xml" ContentType="application/vnd.openxmlformats-officedocument.presentationml.notesSlide+xml"/>
  <Override PartName="/ppt/slides/slide27.xml" ContentType="application/vnd.openxmlformats-officedocument.presentationml.slide+xml"/>
  <Override PartName="/ppt/notesSlides/notesSlide27.xml" ContentType="application/vnd.openxmlformats-officedocument.presentationml.notesSlide+xml"/>
  <Override PartName="/ppt/slides/slide28.xml" ContentType="application/vnd.openxmlformats-officedocument.presentationml.slide+xml"/>
  <Override PartName="/ppt/notesSlides/notesSlide28.xml" ContentType="application/vnd.openxmlformats-officedocument.presentationml.notesSlide+xml"/>
  <Override PartName="/ppt/slides/slide29.xml" ContentType="application/vnd.openxmlformats-officedocument.presentationml.slide+xml"/>
  <Override PartName="/ppt/notesSlides/notesSlide29.xml" ContentType="application/vnd.openxmlformats-officedocument.presentationml.notesSlide+xml"/>
  <Override PartName="/ppt/slides/slide30.xml" ContentType="application/vnd.openxmlformats-officedocument.presentationml.slide+xml"/>
  <Override PartName="/ppt/notesSlides/notesSlide30.xml" ContentType="application/vnd.openxmlformats-officedocument.presentationml.notesSlide+xml"/>
  <Override PartName="/ppt/slides/slide31.xml" ContentType="application/vnd.openxmlformats-officedocument.presentationml.slide+xml"/>
  <Override PartName="/ppt/notesSlides/notesSlide31.xml" ContentType="application/vnd.openxmlformats-officedocument.presentationml.notesSlide+xml"/>
  <Override PartName="/ppt/slides/slide32.xml" ContentType="application/vnd.openxmlformats-officedocument.presentationml.slide+xml"/>
  <Override PartName="/ppt/notesSlides/notesSlide32.xml" ContentType="application/vnd.openxmlformats-officedocument.presentationml.notesSlide+xml"/>
  <Override PartName="/ppt/slides/slide33.xml" ContentType="application/vnd.openxmlformats-officedocument.presentationml.slide+xml"/>
  <Override PartName="/ppt/notesSlides/notesSlide33.xml" ContentType="application/vnd.openxmlformats-officedocument.presentationml.notesSlide+xml"/>
  <Override PartName="/ppt/slides/slide34.xml" ContentType="application/vnd.openxmlformats-officedocument.presentationml.slide+xml"/>
  <Override PartName="/ppt/notesSlides/notesSlide34.xml" ContentType="application/vnd.openxmlformats-officedocument.presentationml.notesSlide+xml"/>
  <Override PartName="/ppt/slides/slide35.xml" ContentType="application/vnd.openxmlformats-officedocument.presentationml.slide+xml"/>
  <Override PartName="/ppt/notesSlides/notesSlide35.xml" ContentType="application/vnd.openxmlformats-officedocument.presentationml.notesSlide+xml"/>
  <Override PartName="/ppt/slides/slide36.xml" ContentType="application/vnd.openxmlformats-officedocument.presentationml.slide+xml"/>
  <Override PartName="/ppt/notesSlides/notesSlide36.xml" ContentType="application/vnd.openxmlformats-officedocument.presentationml.notesSlide+xml"/>
  <Override PartName="/ppt/slides/slide37.xml" ContentType="application/vnd.openxmlformats-officedocument.presentationml.slide+xml"/>
  <Override PartName="/ppt/notesSlides/notesSlide37.xml" ContentType="application/vnd.openxmlformats-officedocument.presentationml.notesSlide+xml"/>
  <Override PartName="/ppt/slides/slide38.xml" ContentType="application/vnd.openxmlformats-officedocument.presentationml.slide+xml"/>
  <Override PartName="/ppt/notesSlides/notesSlide38.xml" ContentType="application/vnd.openxmlformats-officedocument.presentationml.notesSlide+xml"/>
  <Override PartName="/ppt/slides/slide39.xml" ContentType="application/vnd.openxmlformats-officedocument.presentationml.slide+xml"/>
  <Override PartName="/ppt/notesSlides/notesSlide39.xml" ContentType="application/vnd.openxmlformats-officedocument.presentationml.notesSlide+xml"/>
  <Override PartName="/ppt/slides/slide40.xml" ContentType="application/vnd.openxmlformats-officedocument.presentationml.slide+xml"/>
  <Override PartName="/ppt/notesSlides/notesSlide40.xml" ContentType="application/vnd.openxmlformats-officedocument.presentationml.notesSlide+xml"/>
  <Override PartName="/ppt/slides/slide41.xml" ContentType="application/vnd.openxmlformats-officedocument.presentationml.slide+xml"/>
  <Override PartName="/ppt/notesSlides/notesSlide41.xml" ContentType="application/vnd.openxmlformats-officedocument.presentationml.notesSlide+xml"/>
  <Override PartName="/ppt/slides/slide42.xml" ContentType="application/vnd.openxmlformats-officedocument.presentationml.slide+xml"/>
  <Override PartName="/ppt/notesSlides/notesSlide42.xml" ContentType="application/vnd.openxmlformats-officedocument.presentationml.notesSlide+xml"/>
  <Override PartName="/ppt/slides/slide43.xml" ContentType="application/vnd.openxmlformats-officedocument.presentationml.slide+xml"/>
  <Override PartName="/ppt/notesSlides/notesSlide43.xml" ContentType="application/vnd.openxmlformats-officedocument.presentationml.notesSlide+xml"/>
  <Override PartName="/ppt/slides/slide44.xml" ContentType="application/vnd.openxmlformats-officedocument.presentationml.slide+xml"/>
  <Override PartName="/ppt/notesSlides/notesSlide44.xml" ContentType="application/vnd.openxmlformats-officedocument.presentationml.notesSlide+xml"/>
  <Override PartName="/ppt/slides/slide45.xml" ContentType="application/vnd.openxmlformats-officedocument.presentationml.slide+xml"/>
  <Override PartName="/ppt/notesSlides/notesSlide45.xml" ContentType="application/vnd.openxmlformats-officedocument.presentationml.notesSlide+xml"/>
  <Override PartName="/ppt/slides/slide46.xml" ContentType="application/vnd.openxmlformats-officedocument.presentationml.slide+xml"/>
  <Override PartName="/ppt/notesSlides/notesSlide46.xml" ContentType="application/vnd.openxmlformats-officedocument.presentationml.notesSlide+xml"/>
  <Override PartName="/ppt/slides/slide47.xml" ContentType="application/vnd.openxmlformats-officedocument.presentationml.slide+xml"/>
  <Override PartName="/ppt/notesSlides/notesSlide47.xml" ContentType="application/vnd.openxmlformats-officedocument.presentationml.notesSlide+xml"/>
  <Override PartName="/ppt/slides/slide48.xml" ContentType="application/vnd.openxmlformats-officedocument.presentationml.slide+xml"/>
  <Override PartName="/ppt/notesSlides/notesSlide48.xml" ContentType="application/vnd.openxmlformats-officedocument.presentationml.notesSlide+xml"/>
  <Override PartName="/ppt/slides/slide49.xml" ContentType="application/vnd.openxmlformats-officedocument.presentationml.slide+xml"/>
  <Override PartName="/ppt/notesSlides/notesSlide49.xml" ContentType="application/vnd.openxmlformats-officedocument.presentationml.notesSlide+xml"/>
  <Override PartName="/ppt/slides/slide50.xml" ContentType="application/vnd.openxmlformats-officedocument.presentationml.slide+xml"/>
  <Override PartName="/ppt/notesSlides/notesSlide50.xml" ContentType="application/vnd.openxmlformats-officedocument.presentationml.notesSlide+xml"/>
  <Override PartName="/ppt/slides/slide51.xml" ContentType="application/vnd.openxmlformats-officedocument.presentationml.slide+xml"/>
  <Override PartName="/ppt/notesSlides/notesSlide51.xml" ContentType="application/vnd.openxmlformats-officedocument.presentationml.notesSlide+xml"/>
  <Override PartName="/ppt/slides/slide52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2.xml" ContentType="application/vnd.openxmlformats-officedocument.presentationml.notesSlide+xml"/>
  <Override PartName="/ppt/slides/slide53.xml" ContentType="application/vnd.openxmlformats-officedocument.presentationml.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3.xml" ContentType="application/vnd.openxmlformats-officedocument.presentationml.notes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Slides/notesSlide54.xml" ContentType="application/vnd.openxmlformats-officedocument.presentationml.notesSlide+xml"/>
  <Override PartName="/ppt/slides/slide56.xml" ContentType="application/vnd.openxmlformats-officedocument.presentationml.slide+xml"/>
  <Override PartName="/ppt/notesSlides/notesSlide55.xml" ContentType="application/vnd.openxmlformats-officedocument.presentationml.notesSlid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app.xml" ContentType="application/vnd.openxmlformats-officedocument.extended-properties+xml"/>
  <Override PartName="/docProps/core.xml" ContentType="application/vnd.openxmlformats-package.core-properties+xml"/>
</Types>
</file>

<file path=_rels/.rels><?xml version="1.0" encoding="UTF-8" standalone="yes"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/Relationships>
</file>

<file path=ppt/presentation.xml><?xml version="1.0" encoding="utf-8"?>
<p:presentation xmlns:p="http://schemas.openxmlformats.org/presentationml/2006/main" xmlns:r="http://schemas.openxmlformats.org/officeDocument/2006/relationships" xmlns:a="http://schemas.openxmlformats.org/drawingml/2006/main" autoCompressPictures="0" embedTrueTypeFonts="1" showSpecialPlsOnTitleSld="0" strictFirstAndLastChars="0">
  <p:sldMasterIdLst>
    <p:sldMasterId id="2147483648" r:id="rId1"/>
    <p:sldMasterId id="2147483649" r:id="rId2"/>
    <p:sldMasterId id="2147483650" r:id="rId3"/>
  </p:sldMasterIdLst>
  <p:notesMasterIdLst>
    <p:notesMasterId r:id="rId4"/>
  </p:notesMasterIdLst>
  <p:sldIdLst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5" r:id="rId52"/>
    <p:sldId id="306" r:id="rId53"/>
    <p:sldId id="307" r:id="rId54"/>
    <p:sldId id="308" r:id="rId55"/>
    <p:sldId id="309" r:id="rId56"/>
    <p:sldId id="310" r:id="rId57"/>
    <p:sldId id="311" r:id="rId58"/>
    <p:sldId id="312" r:id="rId59"/>
    <p:sldId id="313" r:id="rId60"/>
  </p:sldIdLst>
  <p:sldSz type="screen16x9" cy="6858000" cx="12192000"/>
  <p:notesSz cx="6858000" cy="9144000"/>
  <p:embeddedFontLst>
    <p:embeddedFont>
      <p:font typeface="Arial Narrow" panose="020B0606020202030204" pitchFamily="34" charset="0"/>
      <p:regular r:id="rId61"/>
      <p:bold r:id="rId62"/>
      <p:italic r:id="rId63"/>
      <p:boldItalic r:id="rId64"/>
    </p:embeddedFont>
    <p:embeddedFont>
      <p:font typeface="Barlow" panose="00000500000000000000" pitchFamily="2" charset="0"/>
      <p:regular r:id="rId65"/>
      <p:bold r:id="rId66"/>
      <p:italic r:id="rId67"/>
      <p:boldItalic r:id="rId68"/>
    </p:embeddedFont>
    <p:embeddedFont>
      <p:font typeface="Barlow Medium" panose="00000600000000000000" pitchFamily="2" charset="0"/>
      <p:regular r:id="rId69"/>
      <p:italic r:id="rId70"/>
    </p:embeddedFont>
    <p:embeddedFont>
      <p:font typeface="Calibri" panose="020F0502020204030204" pitchFamily="34" charset="0"/>
      <p:regular r:id="rId71"/>
      <p:bold r:id="rId72"/>
      <p:italic r:id="rId73"/>
      <p:boldItalic r:id="rId74"/>
    </p:embeddedFont>
    <p:embeddedFont>
      <p:font typeface="Cambria Math" panose="02040503050406030204" pitchFamily="18" charset="0"/>
      <p:regular r:id="rId75"/>
    </p:embeddedFont>
    <p:embeddedFont>
      <p:font typeface="Fredoka One" panose="02000000000000000000" pitchFamily="2" charset="0"/>
      <p:regular r:id="rId76"/>
    </p:embeddedFont>
    <p:embeddedFont>
      <p:font typeface="Georgia" panose="02040502050405020303" pitchFamily="18" charset="0"/>
      <p:regular r:id="rId77"/>
      <p:bold r:id="rId78"/>
      <p:italic r:id="rId79"/>
      <p:boldItalic r:id="rId80"/>
    </p:embeddedFont>
    <p:embeddedFont>
      <p:font typeface="Lemon" panose="020B0604020202020204" charset="0"/>
      <p:regular r:id="rId81"/>
    </p:embeddedFont>
    <p:embeddedFont>
      <p:font typeface="Lustria" panose="020B0604020202020204" charset="0"/>
      <p:regular r:id="rId82"/>
    </p:embeddedFont>
    <p:embeddedFont>
      <p:font typeface="Montserrat" panose="00000500000000000000" pitchFamily="2" charset="0"/>
      <p:regular r:id="rId83"/>
      <p:bold r:id="rId84"/>
      <p:italic r:id="rId85"/>
      <p:boldItalic r:id="rId86"/>
    </p:embeddedFont>
    <p:embeddedFont>
      <p:font typeface="Open Sans" panose="020B0606030504020204" pitchFamily="34" charset="0"/>
      <p:regular r:id="rId87"/>
      <p:bold r:id="rId88"/>
      <p:italic r:id="rId89"/>
      <p:boldItalic r:id="rId90"/>
    </p:embeddedFont>
    <p:embeddedFont>
      <p:font typeface="Pompiere" panose="020B0604020202020204" charset="0"/>
      <p:regular r:id="rId91"/>
    </p:embeddedFont>
    <p:embeddedFont>
      <p:font typeface="Raleway" pitchFamily="2" charset="0"/>
      <p:regular r:id="rId92"/>
      <p:bold r:id="rId93"/>
      <p:italic r:id="rId94"/>
      <p:boldItalic r:id="rId95"/>
    </p:embeddedFont>
    <p:embeddedFont>
      <p:font typeface="Roboto" panose="02000000000000000000" pitchFamily="2" charset="0"/>
      <p:regular r:id="rId96"/>
      <p:bold r:id="rId97"/>
      <p:italic r:id="rId98"/>
      <p:boldItalic r:id="rId99"/>
    </p:embeddedFont>
    <p:embeddedFont>
      <p:font typeface="Roboto Medium" panose="02000000000000000000" pitchFamily="2" charset="0"/>
      <p:regular r:id="rId100"/>
      <p:italic r:id="rId101"/>
    </p:embeddedFont>
  </p:embeddedFontLst>
  <p:defaultTextStyle>
    <a:defPPr algn="l" lvl="0" marR="0" rtl="0">
      <a:lnSpc>
        <a:spcPct val="100000"/>
      </a:lnSpc>
      <a:spcBef>
        <a:spcPts val="0"/>
      </a:spcBef>
      <a:spcAft>
        <a:spcPts val="0"/>
      </a:spcAft>
    </a:defPPr>
    <a:lvl1pPr algn="l" lvl="0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1pPr>
    <a:lvl2pPr algn="l" lvl="1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2pPr>
    <a:lvl3pPr algn="l" lvl="2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3pPr>
    <a:lvl4pPr algn="l" lvl="3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4pPr>
    <a:lvl5pPr algn="l" lvl="4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5pPr>
    <a:lvl6pPr algn="l" lvl="5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6pPr>
    <a:lvl7pPr algn="l" lvl="6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7pPr>
    <a:lvl8pPr algn="l" lvl="7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8pPr>
    <a:lvl9pPr algn="l" lvl="8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p="http://schemas.openxmlformats.org/presentationml/2006/main" xmlns:r="http://schemas.openxmlformats.org/officeDocument/2006/relationships" xmlns:a="http://schemas.openxmlformats.org/drawingml/2006/main">
  <p:showPr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72DAC2A5-0A82-473D-91D7-F708F1B18EEC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band2V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6B3BA857-D764-47C9-ADD0-0DD76BD4FA48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tcBdr/>
        <a:fill>
          <a:solidFill>
            <a:schemeClr val="dk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alpha val="20000"/>
            </a:schemeClr>
          </a:solidFill>
        </a:fill>
      </a:tcStyle>
    </a:band1V>
    <a:band2V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726F3168-D1F7-47F0-8820-FD288A7B8962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Style>
        <a:tcBdr/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p="http://schemas.openxmlformats.org/presentationml/2006/main" xmlns:r="http://schemas.openxmlformats.org/officeDocument/2006/relationships" xmlns:a="http://schemas.openxmlformats.org/drawing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876" y="60"/>
      </p:cViewPr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slide" Target="slides/slide31.xml"/><Relationship Id="rId36" Type="http://schemas.openxmlformats.org/officeDocument/2006/relationships/slide" Target="slides/slide32.xml"/><Relationship Id="rId37" Type="http://schemas.openxmlformats.org/officeDocument/2006/relationships/slide" Target="slides/slide33.xml"/><Relationship Id="rId38" Type="http://schemas.openxmlformats.org/officeDocument/2006/relationships/slide" Target="slides/slide34.xml"/><Relationship Id="rId39" Type="http://schemas.openxmlformats.org/officeDocument/2006/relationships/slide" Target="slides/slide35.xml"/><Relationship Id="rId40" Type="http://schemas.openxmlformats.org/officeDocument/2006/relationships/slide" Target="slides/slide36.xml"/><Relationship Id="rId41" Type="http://schemas.openxmlformats.org/officeDocument/2006/relationships/slide" Target="slides/slide37.xml"/><Relationship Id="rId42" Type="http://schemas.openxmlformats.org/officeDocument/2006/relationships/slide" Target="slides/slide38.xml"/><Relationship Id="rId43" Type="http://schemas.openxmlformats.org/officeDocument/2006/relationships/slide" Target="slides/slide39.xml"/><Relationship Id="rId44" Type="http://schemas.openxmlformats.org/officeDocument/2006/relationships/slide" Target="slides/slide40.xml"/><Relationship Id="rId45" Type="http://schemas.openxmlformats.org/officeDocument/2006/relationships/slide" Target="slides/slide41.xml"/><Relationship Id="rId46" Type="http://schemas.openxmlformats.org/officeDocument/2006/relationships/slide" Target="slides/slide42.xml"/><Relationship Id="rId47" Type="http://schemas.openxmlformats.org/officeDocument/2006/relationships/slide" Target="slides/slide43.xml"/><Relationship Id="rId48" Type="http://schemas.openxmlformats.org/officeDocument/2006/relationships/slide" Target="slides/slide44.xml"/><Relationship Id="rId49" Type="http://schemas.openxmlformats.org/officeDocument/2006/relationships/slide" Target="slides/slide45.xml"/><Relationship Id="rId50" Type="http://schemas.openxmlformats.org/officeDocument/2006/relationships/slide" Target="slides/slide46.xml"/><Relationship Id="rId51" Type="http://schemas.openxmlformats.org/officeDocument/2006/relationships/slide" Target="slides/slide47.xml"/><Relationship Id="rId52" Type="http://schemas.openxmlformats.org/officeDocument/2006/relationships/slide" Target="slides/slide48.xml"/><Relationship Id="rId53" Type="http://schemas.openxmlformats.org/officeDocument/2006/relationships/slide" Target="slides/slide49.xml"/><Relationship Id="rId54" Type="http://schemas.openxmlformats.org/officeDocument/2006/relationships/slide" Target="slides/slide50.xml"/><Relationship Id="rId55" Type="http://schemas.openxmlformats.org/officeDocument/2006/relationships/slide" Target="slides/slide51.xml"/><Relationship Id="rId56" Type="http://schemas.openxmlformats.org/officeDocument/2006/relationships/slide" Target="slides/slide52.xml"/><Relationship Id="rId57" Type="http://schemas.openxmlformats.org/officeDocument/2006/relationships/slide" Target="slides/slide53.xml"/><Relationship Id="rId58" Type="http://schemas.openxmlformats.org/officeDocument/2006/relationships/slide" Target="slides/slide54.xml"/><Relationship Id="rId59" Type="http://schemas.openxmlformats.org/officeDocument/2006/relationships/slide" Target="slides/slide55.xml"/><Relationship Id="rId60" Type="http://schemas.openxmlformats.org/officeDocument/2006/relationships/slide" Target="slides/slide56.xml"/><Relationship Id="rId61" Type="http://schemas.openxmlformats.org/officeDocument/2006/relationships/font" Target="fonts/font1.fntdata"/><Relationship Id="rId62" Type="http://schemas.openxmlformats.org/officeDocument/2006/relationships/font" Target="fonts/font2.fntdata"/><Relationship Id="rId63" Type="http://schemas.openxmlformats.org/officeDocument/2006/relationships/font" Target="fonts/font3.fntdata"/><Relationship Id="rId64" Type="http://schemas.openxmlformats.org/officeDocument/2006/relationships/font" Target="fonts/font4.fntdata"/><Relationship Id="rId65" Type="http://schemas.openxmlformats.org/officeDocument/2006/relationships/font" Target="fonts/font5.fntdata"/><Relationship Id="rId66" Type="http://schemas.openxmlformats.org/officeDocument/2006/relationships/font" Target="fonts/font6.fntdata"/><Relationship Id="rId67" Type="http://schemas.openxmlformats.org/officeDocument/2006/relationships/font" Target="fonts/font7.fntdata"/><Relationship Id="rId68" Type="http://schemas.openxmlformats.org/officeDocument/2006/relationships/font" Target="fonts/font8.fntdata"/><Relationship Id="rId69" Type="http://schemas.openxmlformats.org/officeDocument/2006/relationships/font" Target="fonts/font9.fntdata"/><Relationship Id="rId70" Type="http://schemas.openxmlformats.org/officeDocument/2006/relationships/font" Target="fonts/font10.fntdata"/><Relationship Id="rId71" Type="http://schemas.openxmlformats.org/officeDocument/2006/relationships/font" Target="fonts/font11.fntdata"/><Relationship Id="rId72" Type="http://schemas.openxmlformats.org/officeDocument/2006/relationships/font" Target="fonts/font12.fntdata"/><Relationship Id="rId73" Type="http://schemas.openxmlformats.org/officeDocument/2006/relationships/font" Target="fonts/font13.fntdata"/><Relationship Id="rId74" Type="http://schemas.openxmlformats.org/officeDocument/2006/relationships/font" Target="fonts/font14.fntdata"/><Relationship Id="rId75" Type="http://schemas.openxmlformats.org/officeDocument/2006/relationships/font" Target="fonts/font15.fntdata"/><Relationship Id="rId76" Type="http://schemas.openxmlformats.org/officeDocument/2006/relationships/font" Target="fonts/font16.fntdata"/><Relationship Id="rId77" Type="http://schemas.openxmlformats.org/officeDocument/2006/relationships/font" Target="fonts/font17.fntdata"/><Relationship Id="rId78" Type="http://schemas.openxmlformats.org/officeDocument/2006/relationships/font" Target="fonts/font18.fntdata"/><Relationship Id="rId79" Type="http://schemas.openxmlformats.org/officeDocument/2006/relationships/font" Target="fonts/font19.fntdata"/><Relationship Id="rId80" Type="http://schemas.openxmlformats.org/officeDocument/2006/relationships/font" Target="fonts/font20.fntdata"/><Relationship Id="rId81" Type="http://schemas.openxmlformats.org/officeDocument/2006/relationships/font" Target="fonts/font21.fntdata"/><Relationship Id="rId82" Type="http://schemas.openxmlformats.org/officeDocument/2006/relationships/font" Target="fonts/font22.fntdata"/><Relationship Id="rId83" Type="http://schemas.openxmlformats.org/officeDocument/2006/relationships/font" Target="fonts/font23.fntdata"/><Relationship Id="rId84" Type="http://schemas.openxmlformats.org/officeDocument/2006/relationships/font" Target="fonts/font24.fntdata"/><Relationship Id="rId85" Type="http://schemas.openxmlformats.org/officeDocument/2006/relationships/font" Target="fonts/font25.fntdata"/><Relationship Id="rId86" Type="http://schemas.openxmlformats.org/officeDocument/2006/relationships/font" Target="fonts/font26.fntdata"/><Relationship Id="rId87" Type="http://schemas.openxmlformats.org/officeDocument/2006/relationships/font" Target="fonts/font27.fntdata"/><Relationship Id="rId88" Type="http://schemas.openxmlformats.org/officeDocument/2006/relationships/font" Target="fonts/font28.fntdata"/><Relationship Id="rId89" Type="http://schemas.openxmlformats.org/officeDocument/2006/relationships/font" Target="fonts/font29.fntdata"/><Relationship Id="rId90" Type="http://schemas.openxmlformats.org/officeDocument/2006/relationships/font" Target="fonts/font30.fntdata"/><Relationship Id="rId91" Type="http://schemas.openxmlformats.org/officeDocument/2006/relationships/font" Target="fonts/font31.fntdata"/><Relationship Id="rId92" Type="http://schemas.openxmlformats.org/officeDocument/2006/relationships/font" Target="fonts/font32.fntdata"/><Relationship Id="rId93" Type="http://schemas.openxmlformats.org/officeDocument/2006/relationships/font" Target="fonts/font33.fntdata"/><Relationship Id="rId94" Type="http://schemas.openxmlformats.org/officeDocument/2006/relationships/font" Target="fonts/font34.fntdata"/><Relationship Id="rId95" Type="http://schemas.openxmlformats.org/officeDocument/2006/relationships/font" Target="fonts/font35.fntdata"/><Relationship Id="rId96" Type="http://schemas.openxmlformats.org/officeDocument/2006/relationships/font" Target="fonts/font36.fntdata"/><Relationship Id="rId97" Type="http://schemas.openxmlformats.org/officeDocument/2006/relationships/font" Target="fonts/font37.fntdata"/><Relationship Id="rId98" Type="http://schemas.openxmlformats.org/officeDocument/2006/relationships/font" Target="fonts/font38.fntdata"/><Relationship Id="rId99" Type="http://schemas.openxmlformats.org/officeDocument/2006/relationships/font" Target="fonts/font39.fntdata"/><Relationship Id="rId100" Type="http://schemas.openxmlformats.org/officeDocument/2006/relationships/font" Target="fonts/font40.fntdata"/><Relationship Id="rId101" Type="http://schemas.openxmlformats.org/officeDocument/2006/relationships/font" Target="fonts/font41.fntdata"/><Relationship Id="rId102" Type="http://schemas.openxmlformats.org/officeDocument/2006/relationships/tableStyles" Target="tableStyles.xml"/><Relationship Id="rId103" Type="http://schemas.openxmlformats.org/officeDocument/2006/relationships/presProps" Target="presProps.xml"/><Relationship Id="rId104" Type="http://schemas.openxmlformats.org/officeDocument/2006/relationships/viewProps" Target="viewProps.xml"/><Relationship Id="rId105" Type="http://schemas.openxmlformats.org/officeDocument/2006/relationships/theme" Target="theme/theme1.xml"/></Relationships>
</file>

<file path=ppt/notesMasters/_rels/notesMaster1.xml.rels><?xml version="1.0" encoding="UTF-8" standalone="yes"?>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585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70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>
            <a:lvl1pPr algn="l" lvl="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71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>
            <a:lvl1pPr algn="r" lvl="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72" name="Google Shape;5;n"/>
          <p:cNvSpPr>
            <a:spLocks noChangeAspect="1" noRot="1" noGrp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773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>
            <a:lvl1pPr algn="l" indent="-228600" lvl="0" marL="4572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indent="-228600" lvl="1" marL="9144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indent="-228600" lvl="2" marL="13716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indent="-228600" lvl="3" marL="18288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indent="-228600" lvl="4" marL="22860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indent="-228600" lvl="5" marL="27432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indent="-228600" lvl="6" marL="32004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indent="-228600" lvl="7" marL="36576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indent="-228600" lvl="8" marL="411480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74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lstStyle>
            <a:lvl1pPr algn="l" lvl="0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 cap="none" sz="18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75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b="0" cap="none" sz="1200" i="0" lang="en-ID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b="0" cap="none" sz="1200" i="0" strike="noStrike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accent1="accent1" accent2="accent2" accent3="accent3" accent4="accent4" accent5="accent5" accent6="accent6" bg1="lt1" bg2="dk2" tx1="dk1" tx2="lt2" hlink="hlink" folHlink="folHlink"/>
  <p:notesStyle>
    <a:defPPr algn="l" lvl="0" marR="0" rtl="0">
      <a:lnSpc>
        <a:spcPct val="100000"/>
      </a:lnSpc>
      <a:spcBef>
        <a:spcPts val="0"/>
      </a:spcBef>
      <a:spcAft>
        <a:spcPts val="0"/>
      </a:spcAft>
    </a:defPPr>
    <a:lvl1pPr algn="l" lvl="0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1pPr>
    <a:lvl2pPr algn="l" lvl="1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2pPr>
    <a:lvl3pPr algn="l" lvl="2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3pPr>
    <a:lvl4pPr algn="l" lvl="3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4pPr>
    <a:lvl5pPr algn="l" lvl="4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5pPr>
    <a:lvl6pPr algn="l" lvl="5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6pPr>
    <a:lvl7pPr algn="l" lvl="6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7pPr>
    <a:lvl8pPr algn="l" lvl="7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8pPr>
    <a:lvl9pPr algn="l" lvl="8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</Relationships>
</file>

<file path=ppt/notesSlides/_rels/notesSlide10.xml.rels><?xml version="1.0" encoding="UTF-8" standalone="yes"?>
<Relationships xmlns="http://schemas.openxmlformats.org/package/2006/relationships"><Relationship Id="rId1" Type="http://schemas.openxmlformats.org/officeDocument/2006/relationships/slide" Target="../slides/slide10.xml"/><Relationship Id="rId2" Type="http://schemas.openxmlformats.org/officeDocument/2006/relationships/notesMaster" Target="../notesMasters/notesMaster1.xml"/></Relationships>
</file>

<file path=ppt/notesSlides/_rels/notesSlide11.xml.rels><?xml version="1.0" encoding="UTF-8" standalone="yes"?>
<Relationships xmlns="http://schemas.openxmlformats.org/package/2006/relationships"><Relationship Id="rId1" Type="http://schemas.openxmlformats.org/officeDocument/2006/relationships/slide" Target="../slides/slide11.xml"/><Relationship Id="rId2" Type="http://schemas.openxmlformats.org/officeDocument/2006/relationships/notesMaster" Target="../notesMasters/notesMaster1.xml"/></Relationships>
</file>

<file path=ppt/notesSlides/_rels/notesSlide12.xml.rels><?xml version="1.0" encoding="UTF-8" standalone="yes"?>
<Relationships xmlns="http://schemas.openxmlformats.org/package/2006/relationships"><Relationship Id="rId1" Type="http://schemas.openxmlformats.org/officeDocument/2006/relationships/slide" Target="../slides/slide12.xml"/><Relationship Id="rId2" Type="http://schemas.openxmlformats.org/officeDocument/2006/relationships/notesMaster" Target="../notesMasters/notesMaster1.xml"/></Relationships>
</file>

<file path=ppt/notesSlides/_rels/notesSlide13.xml.rels><?xml version="1.0" encoding="UTF-8" standalone="yes"?>
<Relationships xmlns="http://schemas.openxmlformats.org/package/2006/relationships"><Relationship Id="rId1" Type="http://schemas.openxmlformats.org/officeDocument/2006/relationships/slide" Target="../slides/slide13.xml"/><Relationship Id="rId2" Type="http://schemas.openxmlformats.org/officeDocument/2006/relationships/notesMaster" Target="../notesMasters/notesMaster1.xml"/></Relationships>
</file>

<file path=ppt/notesSlides/_rels/notesSlide14.xml.rels><?xml version="1.0" encoding="UTF-8" standalone="yes"?>
<Relationships xmlns="http://schemas.openxmlformats.org/package/2006/relationships"><Relationship Id="rId1" Type="http://schemas.openxmlformats.org/officeDocument/2006/relationships/slide" Target="../slides/slide14.xml"/><Relationship Id="rId2" Type="http://schemas.openxmlformats.org/officeDocument/2006/relationships/notesMaster" Target="../notesMasters/notesMaster1.xml"/></Relationships>
</file>

<file path=ppt/notesSlides/_rels/notesSlide15.xml.rels><?xml version="1.0" encoding="UTF-8" standalone="yes"?>
<Relationships xmlns="http://schemas.openxmlformats.org/package/2006/relationships"><Relationship Id="rId1" Type="http://schemas.openxmlformats.org/officeDocument/2006/relationships/slide" Target="../slides/slide15.xml"/><Relationship Id="rId2" Type="http://schemas.openxmlformats.org/officeDocument/2006/relationships/notesMaster" Target="../notesMasters/notesMaster1.xml"/></Relationships>
</file>

<file path=ppt/notesSlides/_rels/notesSlide16.xml.rels><?xml version="1.0" encoding="UTF-8" standalone="yes"?>
<Relationships xmlns="http://schemas.openxmlformats.org/package/2006/relationships"><Relationship Id="rId1" Type="http://schemas.openxmlformats.org/officeDocument/2006/relationships/slide" Target="../slides/slide16.xml"/><Relationship Id="rId2" Type="http://schemas.openxmlformats.org/officeDocument/2006/relationships/notesMaster" Target="../notesMasters/notesMaster1.xml"/></Relationships>
</file>

<file path=ppt/notesSlides/_rels/notesSlide17.xml.rels><?xml version="1.0" encoding="UTF-8" standalone="yes"?>
<Relationships xmlns="http://schemas.openxmlformats.org/package/2006/relationships"><Relationship Id="rId1" Type="http://schemas.openxmlformats.org/officeDocument/2006/relationships/slide" Target="../slides/slide17.xml"/><Relationship Id="rId2" Type="http://schemas.openxmlformats.org/officeDocument/2006/relationships/notesMaster" Target="../notesMasters/notesMaster1.xml"/></Relationships>
</file>

<file path=ppt/notesSlides/_rels/notesSlide18.xml.rels><?xml version="1.0" encoding="UTF-8" standalone="yes"?>
<Relationships xmlns="http://schemas.openxmlformats.org/package/2006/relationships"><Relationship Id="rId1" Type="http://schemas.openxmlformats.org/officeDocument/2006/relationships/slide" Target="../slides/slide18.xml"/><Relationship Id="rId2" Type="http://schemas.openxmlformats.org/officeDocument/2006/relationships/notesMaster" Target="../notesMasters/notesMaster1.xml"/></Relationships>
</file>

<file path=ppt/notesSlides/_rels/notesSlide19.xml.rels><?xml version="1.0" encoding="UTF-8" standalone="yes"?>
<Relationships xmlns="http://schemas.openxmlformats.org/package/2006/relationships"><Relationship Id="rId1" Type="http://schemas.openxmlformats.org/officeDocument/2006/relationships/slide" Target="../slides/slide19.xml"/><Relationship Id="rId2" Type="http://schemas.openxmlformats.org/officeDocument/2006/relationships/notesMaster" Target="../notesMasters/notesMaster1.xml"/></Relationships>
</file>

<file path=ppt/notesSlides/_rels/notesSlide2.xml.rels><?xml version="1.0" encoding="UTF-8" standalone="yes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</Relationships>
</file>

<file path=ppt/notesSlides/_rels/notesSlide20.xml.rels><?xml version="1.0" encoding="UTF-8" standalone="yes"?>
<Relationships xmlns="http://schemas.openxmlformats.org/package/2006/relationships"><Relationship Id="rId1" Type="http://schemas.openxmlformats.org/officeDocument/2006/relationships/slide" Target="../slides/slide20.xml"/><Relationship Id="rId2" Type="http://schemas.openxmlformats.org/officeDocument/2006/relationships/notesMaster" Target="../notesMasters/notesMaster1.xml"/></Relationships>
</file>

<file path=ppt/notesSlides/_rels/notesSlide21.xml.rels><?xml version="1.0" encoding="UTF-8" standalone="yes"?>
<Relationships xmlns="http://schemas.openxmlformats.org/package/2006/relationships"><Relationship Id="rId1" Type="http://schemas.openxmlformats.org/officeDocument/2006/relationships/slide" Target="../slides/slide21.xml"/><Relationship Id="rId2" Type="http://schemas.openxmlformats.org/officeDocument/2006/relationships/notesMaster" Target="../notesMasters/notesMaster1.xml"/></Relationships>
</file>

<file path=ppt/notesSlides/_rels/notesSlide22.xml.rels><?xml version="1.0" encoding="UTF-8" standalone="yes"?>
<Relationships xmlns="http://schemas.openxmlformats.org/package/2006/relationships"><Relationship Id="rId1" Type="http://schemas.openxmlformats.org/officeDocument/2006/relationships/slide" Target="../slides/slide22.xml"/><Relationship Id="rId2" Type="http://schemas.openxmlformats.org/officeDocument/2006/relationships/notesMaster" Target="../notesMasters/notesMaster1.xml"/></Relationships>
</file>

<file path=ppt/notesSlides/_rels/notesSlide23.xml.rels><?xml version="1.0" encoding="UTF-8" standalone="yes"?>
<Relationships xmlns="http://schemas.openxmlformats.org/package/2006/relationships"><Relationship Id="rId1" Type="http://schemas.openxmlformats.org/officeDocument/2006/relationships/slide" Target="../slides/slide23.xml"/><Relationship Id="rId2" Type="http://schemas.openxmlformats.org/officeDocument/2006/relationships/notesMaster" Target="../notesMasters/notesMaster1.xml"/></Relationships>
</file>

<file path=ppt/notesSlides/_rels/notesSlide24.xml.rels><?xml version="1.0" encoding="UTF-8" standalone="yes"?>
<Relationships xmlns="http://schemas.openxmlformats.org/package/2006/relationships"><Relationship Id="rId1" Type="http://schemas.openxmlformats.org/officeDocument/2006/relationships/slide" Target="../slides/slide24.xml"/><Relationship Id="rId2" Type="http://schemas.openxmlformats.org/officeDocument/2006/relationships/notesMaster" Target="../notesMasters/notesMaster1.xml"/></Relationships>
</file>

<file path=ppt/notesSlides/_rels/notesSlide25.xml.rels><?xml version="1.0" encoding="UTF-8" standalone="yes"?>
<Relationships xmlns="http://schemas.openxmlformats.org/package/2006/relationships"><Relationship Id="rId1" Type="http://schemas.openxmlformats.org/officeDocument/2006/relationships/slide" Target="../slides/slide25.xml"/><Relationship Id="rId2" Type="http://schemas.openxmlformats.org/officeDocument/2006/relationships/notesMaster" Target="../notesMasters/notesMaster1.xml"/></Relationships>
</file>

<file path=ppt/notesSlides/_rels/notesSlide26.xml.rels><?xml version="1.0" encoding="UTF-8" standalone="yes"?>
<Relationships xmlns="http://schemas.openxmlformats.org/package/2006/relationships"><Relationship Id="rId1" Type="http://schemas.openxmlformats.org/officeDocument/2006/relationships/slide" Target="../slides/slide26.xml"/><Relationship Id="rId2" Type="http://schemas.openxmlformats.org/officeDocument/2006/relationships/notesMaster" Target="../notesMasters/notesMaster1.xml"/></Relationships>
</file>

<file path=ppt/notesSlides/_rels/notesSlide27.xml.rels><?xml version="1.0" encoding="UTF-8" standalone="yes"?>
<Relationships xmlns="http://schemas.openxmlformats.org/package/2006/relationships"><Relationship Id="rId1" Type="http://schemas.openxmlformats.org/officeDocument/2006/relationships/slide" Target="../slides/slide27.xml"/><Relationship Id="rId2" Type="http://schemas.openxmlformats.org/officeDocument/2006/relationships/notesMaster" Target="../notesMasters/notesMaster1.xml"/></Relationships>
</file>

<file path=ppt/notesSlides/_rels/notesSlide28.xml.rels><?xml version="1.0" encoding="UTF-8" standalone="yes"?>
<Relationships xmlns="http://schemas.openxmlformats.org/package/2006/relationships"><Relationship Id="rId1" Type="http://schemas.openxmlformats.org/officeDocument/2006/relationships/slide" Target="../slides/slide28.xml"/><Relationship Id="rId2" Type="http://schemas.openxmlformats.org/officeDocument/2006/relationships/notesMaster" Target="../notesMasters/notesMaster1.xml"/></Relationships>
</file>

<file path=ppt/notesSlides/_rels/notesSlide29.xml.rels><?xml version="1.0" encoding="UTF-8" standalone="yes"?>
<Relationships xmlns="http://schemas.openxmlformats.org/package/2006/relationships"><Relationship Id="rId1" Type="http://schemas.openxmlformats.org/officeDocument/2006/relationships/slide" Target="../slides/slide29.xml"/><Relationship Id="rId2" Type="http://schemas.openxmlformats.org/officeDocument/2006/relationships/notesMaster" Target="../notesMasters/notesMaster1.xml"/></Relationships>
</file>

<file path=ppt/notesSlides/_rels/notesSlide3.xml.rels><?xml version="1.0" encoding="UTF-8" standalone="yes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</Relationships>
</file>

<file path=ppt/notesSlides/_rels/notesSlide30.xml.rels><?xml version="1.0" encoding="UTF-8" standalone="yes"?>
<Relationships xmlns="http://schemas.openxmlformats.org/package/2006/relationships"><Relationship Id="rId1" Type="http://schemas.openxmlformats.org/officeDocument/2006/relationships/slide" Target="../slides/slide30.xml"/><Relationship Id="rId2" Type="http://schemas.openxmlformats.org/officeDocument/2006/relationships/notesMaster" Target="../notesMasters/notesMaster1.xml"/></Relationships>
</file>

<file path=ppt/notesSlides/_rels/notesSlide31.xml.rels><?xml version="1.0" encoding="UTF-8" standalone="yes"?>
<Relationships xmlns="http://schemas.openxmlformats.org/package/2006/relationships"><Relationship Id="rId1" Type="http://schemas.openxmlformats.org/officeDocument/2006/relationships/slide" Target="../slides/slide31.xml"/><Relationship Id="rId2" Type="http://schemas.openxmlformats.org/officeDocument/2006/relationships/notesMaster" Target="../notesMasters/notesMaster1.xml"/></Relationships>
</file>

<file path=ppt/notesSlides/_rels/notesSlide32.xml.rels><?xml version="1.0" encoding="UTF-8" standalone="yes"?>
<Relationships xmlns="http://schemas.openxmlformats.org/package/2006/relationships"><Relationship Id="rId1" Type="http://schemas.openxmlformats.org/officeDocument/2006/relationships/slide" Target="../slides/slide32.xml"/><Relationship Id="rId2" Type="http://schemas.openxmlformats.org/officeDocument/2006/relationships/notesMaster" Target="../notesMasters/notesMaster1.xml"/></Relationships>
</file>

<file path=ppt/notesSlides/_rels/notesSlide33.xml.rels><?xml version="1.0" encoding="UTF-8" standalone="yes"?>
<Relationships xmlns="http://schemas.openxmlformats.org/package/2006/relationships"><Relationship Id="rId1" Type="http://schemas.openxmlformats.org/officeDocument/2006/relationships/slide" Target="../slides/slide33.xml"/><Relationship Id="rId2" Type="http://schemas.openxmlformats.org/officeDocument/2006/relationships/notesMaster" Target="../notesMasters/notesMaster1.xml"/></Relationships>
</file>

<file path=ppt/notesSlides/_rels/notesSlide34.xml.rels><?xml version="1.0" encoding="UTF-8" standalone="yes"?>
<Relationships xmlns="http://schemas.openxmlformats.org/package/2006/relationships"><Relationship Id="rId1" Type="http://schemas.openxmlformats.org/officeDocument/2006/relationships/slide" Target="../slides/slide34.xml"/><Relationship Id="rId2" Type="http://schemas.openxmlformats.org/officeDocument/2006/relationships/notesMaster" Target="../notesMasters/notesMaster1.xml"/></Relationships>
</file>

<file path=ppt/notesSlides/_rels/notesSlide35.xml.rels><?xml version="1.0" encoding="UTF-8" standalone="yes"?>
<Relationships xmlns="http://schemas.openxmlformats.org/package/2006/relationships"><Relationship Id="rId1" Type="http://schemas.openxmlformats.org/officeDocument/2006/relationships/slide" Target="../slides/slide35.xml"/><Relationship Id="rId2" Type="http://schemas.openxmlformats.org/officeDocument/2006/relationships/notesMaster" Target="../notesMasters/notesMaster1.xml"/></Relationships>
</file>

<file path=ppt/notesSlides/_rels/notesSlide36.xml.rels><?xml version="1.0" encoding="UTF-8" standalone="yes"?>
<Relationships xmlns="http://schemas.openxmlformats.org/package/2006/relationships"><Relationship Id="rId1" Type="http://schemas.openxmlformats.org/officeDocument/2006/relationships/slide" Target="../slides/slide36.xml"/><Relationship Id="rId2" Type="http://schemas.openxmlformats.org/officeDocument/2006/relationships/notesMaster" Target="../notesMasters/notesMaster1.xml"/></Relationships>
</file>

<file path=ppt/notesSlides/_rels/notesSlide37.xml.rels><?xml version="1.0" encoding="UTF-8" standalone="yes"?>
<Relationships xmlns="http://schemas.openxmlformats.org/package/2006/relationships"><Relationship Id="rId1" Type="http://schemas.openxmlformats.org/officeDocument/2006/relationships/slide" Target="../slides/slide37.xml"/><Relationship Id="rId2" Type="http://schemas.openxmlformats.org/officeDocument/2006/relationships/notesMaster" Target="../notesMasters/notesMaster1.xml"/></Relationships>
</file>

<file path=ppt/notesSlides/_rels/notesSlide38.xml.rels><?xml version="1.0" encoding="UTF-8" standalone="yes"?>
<Relationships xmlns="http://schemas.openxmlformats.org/package/2006/relationships"><Relationship Id="rId1" Type="http://schemas.openxmlformats.org/officeDocument/2006/relationships/slide" Target="../slides/slide38.xml"/><Relationship Id="rId2" Type="http://schemas.openxmlformats.org/officeDocument/2006/relationships/notesMaster" Target="../notesMasters/notesMaster1.xml"/></Relationships>
</file>

<file path=ppt/notesSlides/_rels/notesSlide39.xml.rels><?xml version="1.0" encoding="UTF-8" standalone="yes"?>
<Relationships xmlns="http://schemas.openxmlformats.org/package/2006/relationships"><Relationship Id="rId1" Type="http://schemas.openxmlformats.org/officeDocument/2006/relationships/slide" Target="../slides/slide39.xml"/><Relationship Id="rId2" Type="http://schemas.openxmlformats.org/officeDocument/2006/relationships/notesMaster" Target="../notesMasters/notesMaster1.xml"/></Relationships>
</file>

<file path=ppt/notesSlides/_rels/notesSlide4.xml.rels><?xml version="1.0" encoding="UTF-8" standalone="yes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</Relationships>
</file>

<file path=ppt/notesSlides/_rels/notesSlide40.xml.rels><?xml version="1.0" encoding="UTF-8" standalone="yes"?>
<Relationships xmlns="http://schemas.openxmlformats.org/package/2006/relationships"><Relationship Id="rId1" Type="http://schemas.openxmlformats.org/officeDocument/2006/relationships/slide" Target="../slides/slide40.xml"/><Relationship Id="rId2" Type="http://schemas.openxmlformats.org/officeDocument/2006/relationships/notesMaster" Target="../notesMasters/notesMaster1.xml"/></Relationships>
</file>

<file path=ppt/notesSlides/_rels/notesSlide41.xml.rels><?xml version="1.0" encoding="UTF-8" standalone="yes"?>
<Relationships xmlns="http://schemas.openxmlformats.org/package/2006/relationships"><Relationship Id="rId1" Type="http://schemas.openxmlformats.org/officeDocument/2006/relationships/slide" Target="../slides/slide41.xml"/><Relationship Id="rId2" Type="http://schemas.openxmlformats.org/officeDocument/2006/relationships/notesMaster" Target="../notesMasters/notesMaster1.xml"/></Relationships>
</file>

<file path=ppt/notesSlides/_rels/notesSlide42.xml.rels><?xml version="1.0" encoding="UTF-8" standalone="yes"?>
<Relationships xmlns="http://schemas.openxmlformats.org/package/2006/relationships"><Relationship Id="rId1" Type="http://schemas.openxmlformats.org/officeDocument/2006/relationships/slide" Target="../slides/slide42.xml"/><Relationship Id="rId2" Type="http://schemas.openxmlformats.org/officeDocument/2006/relationships/notesMaster" Target="../notesMasters/notesMaster1.xml"/></Relationships>
</file>

<file path=ppt/notesSlides/_rels/notesSlide43.xml.rels><?xml version="1.0" encoding="UTF-8" standalone="yes"?>
<Relationships xmlns="http://schemas.openxmlformats.org/package/2006/relationships"><Relationship Id="rId1" Type="http://schemas.openxmlformats.org/officeDocument/2006/relationships/slide" Target="../slides/slide43.xml"/><Relationship Id="rId2" Type="http://schemas.openxmlformats.org/officeDocument/2006/relationships/notesMaster" Target="../notesMasters/notesMaster1.xml"/></Relationships>
</file>

<file path=ppt/notesSlides/_rels/notesSlide44.xml.rels><?xml version="1.0" encoding="UTF-8" standalone="yes"?>
<Relationships xmlns="http://schemas.openxmlformats.org/package/2006/relationships"><Relationship Id="rId1" Type="http://schemas.openxmlformats.org/officeDocument/2006/relationships/slide" Target="../slides/slide44.xml"/><Relationship Id="rId2" Type="http://schemas.openxmlformats.org/officeDocument/2006/relationships/notesMaster" Target="../notesMasters/notesMaster1.xml"/></Relationships>
</file>

<file path=ppt/notesSlides/_rels/notesSlide45.xml.rels><?xml version="1.0" encoding="UTF-8" standalone="yes"?>
<Relationships xmlns="http://schemas.openxmlformats.org/package/2006/relationships"><Relationship Id="rId1" Type="http://schemas.openxmlformats.org/officeDocument/2006/relationships/slide" Target="../slides/slide45.xml"/><Relationship Id="rId2" Type="http://schemas.openxmlformats.org/officeDocument/2006/relationships/notesMaster" Target="../notesMasters/notesMaster1.xml"/></Relationships>
</file>

<file path=ppt/notesSlides/_rels/notesSlide46.xml.rels><?xml version="1.0" encoding="UTF-8" standalone="yes"?>
<Relationships xmlns="http://schemas.openxmlformats.org/package/2006/relationships"><Relationship Id="rId1" Type="http://schemas.openxmlformats.org/officeDocument/2006/relationships/slide" Target="../slides/slide46.xml"/><Relationship Id="rId2" Type="http://schemas.openxmlformats.org/officeDocument/2006/relationships/notesMaster" Target="../notesMasters/notesMaster1.xml"/></Relationships>
</file>

<file path=ppt/notesSlides/_rels/notesSlide47.xml.rels><?xml version="1.0" encoding="UTF-8" standalone="yes"?>
<Relationships xmlns="http://schemas.openxmlformats.org/package/2006/relationships"><Relationship Id="rId1" Type="http://schemas.openxmlformats.org/officeDocument/2006/relationships/slide" Target="../slides/slide47.xml"/><Relationship Id="rId2" Type="http://schemas.openxmlformats.org/officeDocument/2006/relationships/notesMaster" Target="../notesMasters/notesMaster1.xml"/></Relationships>
</file>

<file path=ppt/notesSlides/_rels/notesSlide48.xml.rels><?xml version="1.0" encoding="UTF-8" standalone="yes"?>
<Relationships xmlns="http://schemas.openxmlformats.org/package/2006/relationships"><Relationship Id="rId1" Type="http://schemas.openxmlformats.org/officeDocument/2006/relationships/slide" Target="../slides/slide48.xml"/><Relationship Id="rId2" Type="http://schemas.openxmlformats.org/officeDocument/2006/relationships/notesMaster" Target="../notesMasters/notesMaster1.xml"/></Relationships>
</file>

<file path=ppt/notesSlides/_rels/notesSlide49.xml.rels><?xml version="1.0" encoding="UTF-8" standalone="yes"?>
<Relationships xmlns="http://schemas.openxmlformats.org/package/2006/relationships"><Relationship Id="rId1" Type="http://schemas.openxmlformats.org/officeDocument/2006/relationships/slide" Target="../slides/slide49.xml"/><Relationship Id="rId2" Type="http://schemas.openxmlformats.org/officeDocument/2006/relationships/notesMaster" Target="../notesMasters/notesMaster1.xml"/></Relationships>
</file>

<file path=ppt/notesSlides/_rels/notesSlide5.xml.rels><?xml version="1.0" encoding="UTF-8" standalone="yes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</Relationships>
</file>

<file path=ppt/notesSlides/_rels/notesSlide50.xml.rels><?xml version="1.0" encoding="UTF-8" standalone="yes"?>
<Relationships xmlns="http://schemas.openxmlformats.org/package/2006/relationships"><Relationship Id="rId1" Type="http://schemas.openxmlformats.org/officeDocument/2006/relationships/slide" Target="../slides/slide50.xml"/><Relationship Id="rId2" Type="http://schemas.openxmlformats.org/officeDocument/2006/relationships/notesMaster" Target="../notesMasters/notesMaster1.xml"/></Relationships>
</file>

<file path=ppt/notesSlides/_rels/notesSlide51.xml.rels><?xml version="1.0" encoding="UTF-8" standalone="yes"?>
<Relationships xmlns="http://schemas.openxmlformats.org/package/2006/relationships"><Relationship Id="rId1" Type="http://schemas.openxmlformats.org/officeDocument/2006/relationships/slide" Target="../slides/slide51.xml"/><Relationship Id="rId2" Type="http://schemas.openxmlformats.org/officeDocument/2006/relationships/notesMaster" Target="../notesMasters/notesMaster1.xml"/></Relationships>
</file>

<file path=ppt/notesSlides/_rels/notesSlide52.xml.rels><?xml version="1.0" encoding="UTF-8" standalone="yes"?>
<Relationships xmlns="http://schemas.openxmlformats.org/package/2006/relationships"><Relationship Id="rId1" Type="http://schemas.openxmlformats.org/officeDocument/2006/relationships/slide" Target="../slides/slide52.xml"/><Relationship Id="rId2" Type="http://schemas.openxmlformats.org/officeDocument/2006/relationships/notesMaster" Target="../notesMasters/notesMaster1.xml"/></Relationships>
</file>

<file path=ppt/notesSlides/_rels/notesSlide53.xml.rels><?xml version="1.0" encoding="UTF-8" standalone="yes"?>
<Relationships xmlns="http://schemas.openxmlformats.org/package/2006/relationships"><Relationship Id="rId1" Type="http://schemas.openxmlformats.org/officeDocument/2006/relationships/slide" Target="../slides/slide53.xml"/><Relationship Id="rId2" Type="http://schemas.openxmlformats.org/officeDocument/2006/relationships/notesMaster" Target="../notesMasters/notesMaster1.xml"/></Relationships>
</file>

<file path=ppt/notesSlides/_rels/notesSlide54.xml.rels><?xml version="1.0" encoding="UTF-8" standalone="yes"?>
<Relationships xmlns="http://schemas.openxmlformats.org/package/2006/relationships"><Relationship Id="rId1" Type="http://schemas.openxmlformats.org/officeDocument/2006/relationships/slide" Target="../slides/slide55.xml"/><Relationship Id="rId2" Type="http://schemas.openxmlformats.org/officeDocument/2006/relationships/notesMaster" Target="../notesMasters/notesMaster1.xml"/></Relationships>
</file>

<file path=ppt/notesSlides/_rels/notesSlide55.xml.rels><?xml version="1.0" encoding="UTF-8" standalone="yes"?>
<Relationships xmlns="http://schemas.openxmlformats.org/package/2006/relationships"><Relationship Id="rId1" Type="http://schemas.openxmlformats.org/officeDocument/2006/relationships/slide" Target="../slides/slide56.xml"/><Relationship Id="rId2" Type="http://schemas.openxmlformats.org/officeDocument/2006/relationships/notesMaster" Target="../notesMasters/notesMaster1.xml"/></Relationships>
</file>

<file path=ppt/notesSlides/_rels/notesSlide6.xml.rels><?xml version="1.0" encoding="UTF-8" standalone="yes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</Relationships>
</file>

<file path=ppt/notesSlides/_rels/notesSlide7.xml.rels><?xml version="1.0" encoding="UTF-8" standalone="yes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</Relationships>
</file>

<file path=ppt/notesSlides/_rels/notesSlide8.xml.rels><?xml version="1.0" encoding="UTF-8" standalone="yes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</Relationships>
</file>

<file path=ppt/notesSlides/_rels/notesSlide9.xml.rels><?xml version="1.0" encoding="UTF-8" standalone="yes"?>
<Relationships xmlns="http://schemas.openxmlformats.org/package/2006/relationships"><Relationship Id="rId1" Type="http://schemas.openxmlformats.org/officeDocument/2006/relationships/slide" Target="../slides/slide9.xml"/><Relationship Id="rId2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60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0" name="Google Shape;693;p1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581" name="Google Shape;694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10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48582" name="Google Shape;695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1</a:t>
            </a:fld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22" name="Shape 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3" name="Google Shape;961;g191abe3b490_12_4745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864" name="Google Shape;962;g191abe3b490_12_47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b="1"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27" name="Shape 1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5" name="Google Shape;1012;g19dcec343aa_7_136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876" name="Google Shape;1013;g19dcec343aa_7_1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48877" name="Google Shape;1014;g19dcec343aa_7_1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11</a:t>
            </a:fld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32" name="Shape 10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5" name="Google Shape;1033;g19dcec343aa_7_156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896" name="Google Shape;1034;g19dcec343a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38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26" name="Google Shape;1056;g19dcec343aa_7_17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927" name="Google Shape;1057;g19dcec343aa_7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43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52" name="Google Shape;1085;g19dcec343aa_7_206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953" name="Google Shape;1086;g19dcec343aa_7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48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75" name="Google Shape;1118;g19dcec343aa_7_23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976" name="Google Shape;1119;g19dcec343aa_7_2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53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98" name="Google Shape;1147;g19dcec343aa_7_266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999" name="Google Shape;1148;g19dcec343aa_7_2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59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20" name="Google Shape;1176;g19dcec343aa_7_294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021" name="Google Shape;1177;g19dcec343aa_7_2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64" name="Shape 1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49" name="Google Shape;1217;g19dcec343aa_7_334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050" name="Google Shape;1218;g19dcec343aa_7_3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69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74" name="Google Shape;1251;g19dcec343aa_7_367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075" name="Google Shape;1252;g19dcec343aa_7_3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10" name="Shape 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4" name="Google Shape;700;g19a6bfd5701_2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48585" name="Google Shape;701;g19a6bfd5701_2_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75" name="Shape 1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12" name="Google Shape;1281;g19978a75a87_0_7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113" name="Google Shape;1282;g19978a75a87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81" name="Shape 1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53" name="Google Shape;1307;g19dcec343aa_17_0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154" name="Google Shape;1308;g19dcec343aa_17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lang="en-ID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86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00" name="Google Shape;1348;g191abe3b490_12_3405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201" name="Google Shape;1349;g191abe3b490_12_34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9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23" name="Google Shape;1399;g199c61c64ac_6_447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224" name="Google Shape;1400;g199c61c64ac_6_4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96" name="Shape 1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49" name="Google Shape;1428;g199c61c64ac_6_475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250" name="Google Shape;1429;g199c61c64ac_6_4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03" name="Shape 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37" name="Google Shape;1462;g199c61c64ac_6_50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338" name="Google Shape;1463;g199c61c64ac_6_50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endParaRPr lang="en-ID"/>
          </a:p>
        </p:txBody>
      </p:sp>
      <p:sp>
        <p:nvSpPr>
          <p:cNvPr id="1049339" name="Google Shape;1464;g199c61c64ac_6_50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25</a:t>
            </a:fld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09" name="Shape 1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423" name="Google Shape;1554;g199c61c64ac_6_600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424" name="Google Shape;1555;g199c61c64ac_6_6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15" name="Shape 1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12" name="Google Shape;1645;g19b32c0fc37_0_42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513" name="Google Shape;1646;g19b32c0fc37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20" name="Shape 1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59" name="Google Shape;1743;g193347d103b_3_581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560" name="Google Shape;1744;g193347d103b_3_5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1500" lang="en-ID">
              <a:solidFill>
                <a:srgbClr val="292929"/>
              </a:solidFill>
              <a:highlight>
                <a:srgbClr val="FFFFFF"/>
              </a:highlight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28" name="Shape 1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84" name="Google Shape;1794;g19a6bfd5701_2_844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585" name="Google Shape;1795;g19a6bfd5701_2_8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-285750" lvl="0" marL="285750" rtl="0">
              <a:spcBef>
                <a:spcPts val="600"/>
              </a:spcBef>
              <a:spcAft>
                <a:spcPts val="0"/>
              </a:spcAft>
              <a:buClr>
                <a:srgbClr val="292929"/>
              </a:buClr>
              <a:buSzPts val="1200"/>
              <a:buFont typeface="Arial"/>
              <a:buChar char="•"/>
            </a:pPr>
            <a:endParaRPr sz="1000">
              <a:solidFill>
                <a:srgbClr val="222222"/>
              </a:solidFill>
              <a:highlight>
                <a:srgbClr val="FFFFFF"/>
              </a:highlight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53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9" name="Google Shape;704;g19dcec343aa_7_0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640" name="Google Shape;705;g19dcec343aa_7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33" name="Shape 1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98" name="Google Shape;1831;g19b32c0fc37_0_0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599" name="Google Shape;1832;g19b32c0fc37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298450" lvl="0" marL="4572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2222"/>
              </a:buClr>
              <a:buSzPts val="1100"/>
              <a:buChar char="●"/>
            </a:pPr>
            <a:endParaRPr sz="1100">
              <a:solidFill>
                <a:srgbClr val="222222"/>
              </a:solidFill>
              <a:highlight>
                <a:srgbClr val="FFFFFF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600" name="Google Shape;1833;g19b32c0fc37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0</a:t>
            </a:fld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40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30" name="Google Shape;1855;g19a6bfd5701_2_90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631" name="Google Shape;1856;g19a6bfd5701_2_90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49632" name="Google Shape;1857;g19a6bfd5701_2_90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1</a:t>
            </a:fld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48" name="Shape 1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56" name="Google Shape;1896;g19a6bfd5701_2_94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657" name="Google Shape;1897;g19a6bfd5701_2_94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endParaRPr b="0" sz="1400" lang="en-ID"/>
          </a:p>
        </p:txBody>
      </p:sp>
      <p:sp>
        <p:nvSpPr>
          <p:cNvPr id="1049658" name="Google Shape;1898;g19a6bfd5701_2_94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2</a:t>
            </a:fld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58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95" name="Google Shape;1933;g19a6bfd5701_2_976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696" name="Google Shape;1934;g19a6bfd5701_2_9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17500" lvl="0" marL="45720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●"/>
            </a:pPr>
            <a:endParaRPr sz="1400" lang="en-ID"/>
          </a:p>
        </p:txBody>
      </p:sp>
      <p:sp>
        <p:nvSpPr>
          <p:cNvPr id="1049697" name="Google Shape;1935;g19a6bfd5701_2_97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3</a:t>
            </a:fld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67" name="Shape 1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29" name="Google Shape;1985;g19a6bfd5701_2_101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730" name="Google Shape;1986;g19a6bfd5701_2_10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b="1" sz="1400" lang="en-ID"/>
          </a:p>
        </p:txBody>
      </p:sp>
      <p:sp>
        <p:nvSpPr>
          <p:cNvPr id="1049731" name="Google Shape;1987;g19a6bfd5701_2_10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4</a:t>
            </a:fld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76" name="Shape 2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62" name="Google Shape;2031;g19a6bfd5701_2_1039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763" name="Google Shape;2032;g19a6bfd5701_2_10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17500" lvl="0" marL="45720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●"/>
            </a:pPr>
            <a:endParaRPr b="1" sz="1400" lang="en-ID"/>
          </a:p>
        </p:txBody>
      </p:sp>
      <p:sp>
        <p:nvSpPr>
          <p:cNvPr id="1049764" name="Google Shape;2033;g19a6bfd5701_2_10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5</a:t>
            </a:fld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85" name="Shape 2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89" name="Google Shape;2076;g19cd92314ba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49790" name="Google Shape;2077;g19cd92314ba_1_0:notes"/>
          <p:cNvSpPr>
            <a:spLocks noChangeAspect="1" noRot="1" noGrp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89" name="Shape 2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807" name="Google Shape;2122;g19a6bfd5701_2_1060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808" name="Google Shape;2123;g19a6bfd5701_2_10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95250" lvl="0" marL="0" rtl="0">
              <a:lnSpc>
                <a:spcPct val="190909"/>
              </a:lnSpc>
              <a:spcBef>
                <a:spcPts val="3200"/>
              </a:spcBef>
              <a:spcAft>
                <a:spcPts val="0"/>
              </a:spcAft>
              <a:buClr>
                <a:srgbClr val="292929"/>
              </a:buClr>
              <a:buSzPts val="1500"/>
              <a:buFont typeface="Georgia"/>
              <a:buChar char="●"/>
            </a:pPr>
            <a:endParaRPr sz="1500">
              <a:solidFill>
                <a:srgbClr val="292929"/>
              </a:solidFill>
              <a:highlight>
                <a:srgbClr val="FFFFFF"/>
              </a:highlight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049809" name="Google Shape;2124;g19a6bfd5701_2_106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7</a:t>
            </a:fld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394" name="Shape 2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855" name="Google Shape;2149;g193347d103b_5_70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856" name="Google Shape;2150;g193347d103b_5_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01" name="Shape 2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883" name="Google Shape;2200;g19a6bfd5701_2_1083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884" name="Google Shape;2201;g19a6bfd5701_2_108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3238"/>
              </a:buClr>
              <a:buSzPts val="1200"/>
              <a:buFont typeface="Arial"/>
              <a:buNone/>
            </a:pPr>
            <a:endParaRPr sz="1200" i="1" lang="en-ID">
              <a:solidFill>
                <a:srgbClr val="26323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885" name="Google Shape;2202;g19a6bfd5701_2_108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39</a:t>
            </a:fld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63" name="Shape 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2" name="Google Shape;742;g19dcec343aa_7_38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663" name="Google Shape;743;g19dcec343aa_7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1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48664" name="Google Shape;744;g19dcec343aa_7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</a:t>
            </a:fld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06" name="Shape 2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09" name="Google Shape;2239;g19a6bfd5701_2_1102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910" name="Google Shape;2240;g19a6bfd5701_2_110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27025" lvl="0" marL="45720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50"/>
              <a:buFont typeface="Calibri"/>
              <a:buChar char="●"/>
            </a:pPr>
            <a:endParaRPr sz="1550" lang="en-ID">
              <a:solidFill>
                <a:schemeClr val="dk1"/>
              </a:solidFill>
            </a:endParaRPr>
          </a:p>
        </p:txBody>
      </p:sp>
      <p:sp>
        <p:nvSpPr>
          <p:cNvPr id="1049911" name="Google Shape;2241;g19a6bfd5701_2_110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0</a:t>
            </a:fld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11" name="Shape 2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31" name="Google Shape;2271;g19a6bfd5701_2_1113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932" name="Google Shape;2272;g19a6bfd5701_2_11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11150" lvl="0" marL="457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●"/>
            </a:pPr>
            <a:endParaRPr sz="1200" lang="en-ID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933" name="Google Shape;2273;g19a6bfd5701_2_11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1</a:t>
            </a:fld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17" name="Shape 2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58" name="Google Shape;2299;g19a6bfd5701_2_1120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959" name="Google Shape;2300;g19a6bfd5701_2_11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17500" lvl="0" marL="457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●"/>
            </a:pPr>
            <a:endParaRPr lang="en-ID">
              <a:solidFill>
                <a:schemeClr val="dk1"/>
              </a:solidFill>
              <a:highlight>
                <a:srgbClr val="FFFF00"/>
              </a:highlight>
            </a:endParaRPr>
          </a:p>
        </p:txBody>
      </p:sp>
      <p:sp>
        <p:nvSpPr>
          <p:cNvPr id="1049960" name="Google Shape;2301;g19a6bfd5701_2_11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2</a:t>
            </a:fld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22" name="Shape 2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80" name="Google Shape;2335;g19a6bfd5701_2_113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49981" name="Google Shape;2336;g19a6bfd5701_2_1135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28" name="Shape 2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06" name="Google Shape;2363;g19a6bfd5701_2_1142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007" name="Google Shape;2364;g19a6bfd5701_2_11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-317500" lvl="0" marL="457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●"/>
            </a:pPr>
            <a:endParaRPr lang="en-ID">
              <a:solidFill>
                <a:schemeClr val="dk1"/>
              </a:solidFill>
              <a:highlight>
                <a:srgbClr val="FFFF00"/>
              </a:highlight>
            </a:endParaRPr>
          </a:p>
        </p:txBody>
      </p:sp>
      <p:sp>
        <p:nvSpPr>
          <p:cNvPr id="1050008" name="Google Shape;2365;g19a6bfd5701_2_11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4</a:t>
            </a:fld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33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28" name="Google Shape;2399;g19a6bfd5701_2_115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029" name="Google Shape;2400;g19a6bfd5701_2_115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39" name="Shape 2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52" name="Google Shape;2428;g19b32c0fc37_0_148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053" name="Google Shape;2429;g19b32c0fc37_0_14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endParaRPr sz="1200" lang="en-ID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50054" name="Google Shape;2430;g19b32c0fc37_0_14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6</a:t>
            </a:fld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43" name="Shape 2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80" name="Google Shape;2462;g1a3c0ec783c_4_137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081" name="Google Shape;2463;g1a3c0ec783c_4_1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76200" rtl="0">
              <a:spcBef>
                <a:spcPts val="0"/>
              </a:spcBef>
              <a:spcAft>
                <a:spcPts val="0"/>
              </a:spcAft>
              <a:buNone/>
            </a:pPr>
            <a:endParaRPr b="0" sz="1800" i="0" lang="en-ID" strike="noStrike" u="none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82" name="Google Shape;2464;g1a3c0ec783c_4_13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7</a:t>
            </a:fld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59" name="Shape 2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32" name="Google Shape;2495;g19b4d37e0d4_0_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33" name="Google Shape;2496;g19b4d37e0d4_0_67:notes"/>
          <p:cNvSpPr>
            <a:spLocks noChangeAspect="1" noRot="1" noGrp="1"/>
          </p:cNvSpPr>
          <p:nvPr>
            <p:ph type="sldImg" idx="2"/>
          </p:nvPr>
        </p:nvSpPr>
        <p:spPr>
          <a:xfrm>
            <a:off x="1143225" y="685800"/>
            <a:ext cx="45723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64" name="Shape 2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53" name="Google Shape;2571;g19a6bfd5701_2_1176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154" name="Google Shape;2572;g19a6bfd5701_2_11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lang="en-ID"/>
          </a:p>
        </p:txBody>
      </p:sp>
      <p:sp>
        <p:nvSpPr>
          <p:cNvPr id="1050155" name="Google Shape;2573;g19a6bfd5701_2_117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49</a:t>
            </a:fld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69" name="Shape 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9" name="Google Shape;779;g19347faee97_5_2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ID"/>
          </a:p>
        </p:txBody>
      </p:sp>
      <p:sp>
        <p:nvSpPr>
          <p:cNvPr id="1048690" name="Google Shape;780;g19347faee97_5_251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69" name="Shape 2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79" name="Google Shape;2601;g19cd92314ba_6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80" name="Google Shape;2602;g19cd92314ba_6_0:notes"/>
          <p:cNvSpPr>
            <a:spLocks noChangeAspect="1" noRot="1" noGrp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74" name="Shape 2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88" name="Google Shape;2642;g19b4d37e0d4_0_44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189" name="Google Shape;2643;g19b4d37e0d4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lang="en-ID"/>
          </a:p>
        </p:txBody>
      </p:sp>
      <p:sp>
        <p:nvSpPr>
          <p:cNvPr id="1050190" name="Google Shape;2644;g19b4d37e0d4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51</a:t>
            </a:fld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79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18" name="Slide Image Placeholder 1"/>
          <p:cNvSpPr>
            <a:spLocks noChangeAspect="1" noRot="1" noGrp="1"/>
          </p:cNvSpPr>
          <p:nvPr>
            <p:ph type="sldImg"/>
          </p:nvPr>
        </p:nvSpPr>
        <p:spPr/>
      </p:sp>
      <p:sp>
        <p:nvSpPr>
          <p:cNvPr id="1050219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p>
            <a:endParaRPr altLang="de-DE" dirty="0" lang="de-DE"/>
          </a:p>
        </p:txBody>
      </p:sp>
      <p:sp>
        <p:nvSpPr>
          <p:cNvPr id="105022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p>
            <a:fld id="{B0AD530B-8EC8-4709-B322-33BDFA1ED3DA}" type="slidenum">
              <a:rPr altLang="de-DE" lang="de-DE" smtClean="0"/>
              <a:t>52</a:t>
            </a:fld>
            <a:endParaRPr altLang="de-DE" dirty="0" lang="de-DE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8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48" name="Slide Image Placeholder 1"/>
          <p:cNvSpPr>
            <a:spLocks noChangeAspect="1" noRot="1" noGrp="1"/>
          </p:cNvSpPr>
          <p:nvPr>
            <p:ph type="sldImg"/>
          </p:nvPr>
        </p:nvSpPr>
        <p:spPr/>
      </p:sp>
      <p:sp>
        <p:nvSpPr>
          <p:cNvPr id="1050249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p>
            <a:endParaRPr altLang="de-DE" dirty="0" lang="de-DE"/>
          </a:p>
        </p:txBody>
      </p:sp>
      <p:sp>
        <p:nvSpPr>
          <p:cNvPr id="105025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p>
            <a:fld id="{B0AD530B-8EC8-4709-B322-33BDFA1ED3DA}" type="slidenum">
              <a:rPr altLang="de-DE" lang="de-DE" smtClean="0"/>
              <a:t>53</a:t>
            </a:fld>
            <a:endParaRPr altLang="de-DE" dirty="0" lang="de-DE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89" name="Shape 2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57" name="Google Shape;2729;g199c61c64ac_6_898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0258" name="Google Shape;2730;g199c61c64ac_6_89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</a:p>
        </p:txBody>
      </p:sp>
      <p:sp>
        <p:nvSpPr>
          <p:cNvPr id="1050259" name="Google Shape;2731;g199c61c64ac_6_89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ID"/>
              <a:t>55</a:t>
            </a:fld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93" name="Shape 2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61" name="Google Shape;2736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262" name="Google Shape;2737;p14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74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29" name="Google Shape;807;g19347faee97_5_27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ID"/>
          </a:p>
        </p:txBody>
      </p:sp>
      <p:sp>
        <p:nvSpPr>
          <p:cNvPr id="1048730" name="Google Shape;808;g19347faee97_5_278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79" name="Shape 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9" name="Google Shape;852;g19a6bfd5701_2_1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ID"/>
          </a:p>
        </p:txBody>
      </p:sp>
      <p:sp>
        <p:nvSpPr>
          <p:cNvPr id="1048770" name="Google Shape;853;g19a6bfd5701_2_152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89" name="Shape 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88" name="Google Shape;897;g19dcec343aa_7_74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789" name="Google Shape;898;g19dcec343aa_7_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just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imes New Roman"/>
              <a:buNone/>
            </a:pPr>
            <a:endParaRPr sz="1100"/>
          </a:p>
        </p:txBody>
      </p:sp>
      <p:sp>
        <p:nvSpPr>
          <p:cNvPr id="1048790" name="Google Shape;899;g19dcec343aa_7_7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8</a:t>
            </a:fld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97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8" name="Google Shape;925;g19dcec343aa_7_101:notes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809" name="Google Shape;926;g19dcec343aa_7_10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endParaRPr b="1"/>
          </a:p>
        </p:txBody>
      </p:sp>
      <p:sp>
        <p:nvSpPr>
          <p:cNvPr id="1048810" name="Google Shape;927;g19dcec343aa_7_10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9</a:t>
            </a:fld>
          </a:p>
        </p:txBody>
      </p:sp>
    </p:spTree>
  </p:cSld>
  <p:clrMapOvr>
    <a:masterClrMapping/>
  </p:clrMapOvr>
</p:notes>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1">
  <p:cSld name="Placeholder 01">
    <p:spTree>
      <p:nvGrpSpPr>
        <p:cNvPr id="57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7" name="Google Shape;12;p16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557784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8">
  <p:cSld name="Placeholder 08">
    <p:spTree>
      <p:nvGrpSpPr>
        <p:cNvPr id="297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51" name="Google Shape;33;p25"/>
          <p:cNvSpPr>
            <a:spLocks noGrp="1"/>
          </p:cNvSpPr>
          <p:nvPr>
            <p:ph type="pic" idx="2"/>
          </p:nvPr>
        </p:nvSpPr>
        <p:spPr>
          <a:xfrm>
            <a:off x="2207910" y="1938856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49252" name="Google Shape;34;p25"/>
          <p:cNvSpPr>
            <a:spLocks noGrp="1"/>
          </p:cNvSpPr>
          <p:nvPr>
            <p:ph type="pic" idx="3"/>
          </p:nvPr>
        </p:nvSpPr>
        <p:spPr>
          <a:xfrm>
            <a:off x="5217809" y="1938855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49253" name="Google Shape;35;p25"/>
          <p:cNvSpPr>
            <a:spLocks noGrp="1"/>
          </p:cNvSpPr>
          <p:nvPr>
            <p:ph type="pic" idx="4"/>
          </p:nvPr>
        </p:nvSpPr>
        <p:spPr>
          <a:xfrm>
            <a:off x="8227710" y="1938854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9">
  <p:cSld name="Placeholder 09">
    <p:spTree>
      <p:nvGrpSpPr>
        <p:cNvPr id="519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04" name="Google Shape;37;p26"/>
          <p:cNvSpPr>
            <a:spLocks noGrp="1"/>
          </p:cNvSpPr>
          <p:nvPr>
            <p:ph type="pic" idx="2"/>
          </p:nvPr>
        </p:nvSpPr>
        <p:spPr>
          <a:xfrm>
            <a:off x="996330" y="2247466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05" name="Google Shape;38;p26"/>
          <p:cNvSpPr>
            <a:spLocks noGrp="1"/>
          </p:cNvSpPr>
          <p:nvPr>
            <p:ph type="pic" idx="3"/>
          </p:nvPr>
        </p:nvSpPr>
        <p:spPr>
          <a:xfrm>
            <a:off x="3640470" y="2247465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06" name="Google Shape;39;p26"/>
          <p:cNvSpPr>
            <a:spLocks noGrp="1"/>
          </p:cNvSpPr>
          <p:nvPr>
            <p:ph type="pic" idx="4"/>
          </p:nvPr>
        </p:nvSpPr>
        <p:spPr>
          <a:xfrm>
            <a:off x="6284610" y="2247465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07" name="Google Shape;40;p26"/>
          <p:cNvSpPr>
            <a:spLocks noGrp="1"/>
          </p:cNvSpPr>
          <p:nvPr>
            <p:ph type="pic" idx="5"/>
          </p:nvPr>
        </p:nvSpPr>
        <p:spPr>
          <a:xfrm>
            <a:off x="8928750" y="2247464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0">
  <p:cSld name="Placeholder 10">
    <p:spTree>
      <p:nvGrpSpPr>
        <p:cNvPr id="528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5" name="Google Shape;42;p27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2">
  <p:cSld name="Placeholder 12">
    <p:spTree>
      <p:nvGrpSpPr>
        <p:cNvPr id="536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54" name="Google Shape;44;p28"/>
          <p:cNvSpPr>
            <a:spLocks noGrp="1"/>
          </p:cNvSpPr>
          <p:nvPr>
            <p:ph type="pic" idx="2"/>
          </p:nvPr>
        </p:nvSpPr>
        <p:spPr>
          <a:xfrm>
            <a:off x="736600" y="1160462"/>
            <a:ext cx="4518025" cy="453707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3">
  <p:cSld name="Placeholder 13">
    <p:spTree>
      <p:nvGrpSpPr>
        <p:cNvPr id="552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07" name="Google Shape;46;p29"/>
          <p:cNvSpPr>
            <a:spLocks noGrp="1"/>
          </p:cNvSpPr>
          <p:nvPr>
            <p:ph type="pic" idx="2"/>
          </p:nvPr>
        </p:nvSpPr>
        <p:spPr>
          <a:xfrm>
            <a:off x="4362756" y="739378"/>
            <a:ext cx="3466488" cy="537924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08" name="Google Shape;47;p29"/>
          <p:cNvSpPr>
            <a:spLocks noGrp="1"/>
          </p:cNvSpPr>
          <p:nvPr>
            <p:ph type="pic" idx="3"/>
          </p:nvPr>
        </p:nvSpPr>
        <p:spPr>
          <a:xfrm>
            <a:off x="705156" y="3756898"/>
            <a:ext cx="3466488" cy="236172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09" name="Google Shape;48;p29"/>
          <p:cNvSpPr>
            <a:spLocks noGrp="1"/>
          </p:cNvSpPr>
          <p:nvPr>
            <p:ph type="pic" idx="4"/>
          </p:nvPr>
        </p:nvSpPr>
        <p:spPr>
          <a:xfrm>
            <a:off x="8020356" y="739378"/>
            <a:ext cx="3466488" cy="2361724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4">
  <p:cSld name="Placeholder 14">
    <p:spTree>
      <p:nvGrpSpPr>
        <p:cNvPr id="522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12" name="Google Shape;50;p30"/>
          <p:cNvSpPr>
            <a:spLocks noGrp="1"/>
          </p:cNvSpPr>
          <p:nvPr>
            <p:ph type="pic" idx="2"/>
          </p:nvPr>
        </p:nvSpPr>
        <p:spPr>
          <a:xfrm>
            <a:off x="5060633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3" name="Google Shape;51;p30"/>
          <p:cNvSpPr>
            <a:spLocks noGrp="1"/>
          </p:cNvSpPr>
          <p:nvPr>
            <p:ph type="pic" idx="3"/>
          </p:nvPr>
        </p:nvSpPr>
        <p:spPr>
          <a:xfrm>
            <a:off x="7206614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4" name="Google Shape;52;p30"/>
          <p:cNvSpPr>
            <a:spLocks noGrp="1"/>
          </p:cNvSpPr>
          <p:nvPr>
            <p:ph type="pic" idx="4"/>
          </p:nvPr>
        </p:nvSpPr>
        <p:spPr>
          <a:xfrm>
            <a:off x="9357359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5" name="Google Shape;53;p30"/>
          <p:cNvSpPr>
            <a:spLocks noGrp="1"/>
          </p:cNvSpPr>
          <p:nvPr>
            <p:ph type="pic" idx="5"/>
          </p:nvPr>
        </p:nvSpPr>
        <p:spPr>
          <a:xfrm>
            <a:off x="5060633" y="345376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6" name="Google Shape;54;p30"/>
          <p:cNvSpPr>
            <a:spLocks noGrp="1"/>
          </p:cNvSpPr>
          <p:nvPr>
            <p:ph type="pic" idx="6"/>
          </p:nvPr>
        </p:nvSpPr>
        <p:spPr>
          <a:xfrm>
            <a:off x="7206614" y="3453765"/>
            <a:ext cx="4221482" cy="2070736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5">
  <p:cSld name="Placeholder 15">
    <p:spTree>
      <p:nvGrpSpPr>
        <p:cNvPr id="532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37" name="Google Shape;56;p31"/>
          <p:cNvSpPr>
            <a:spLocks noGrp="1"/>
          </p:cNvSpPr>
          <p:nvPr>
            <p:ph type="pic" idx="2"/>
          </p:nvPr>
        </p:nvSpPr>
        <p:spPr>
          <a:xfrm>
            <a:off x="688771" y="806330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38" name="Google Shape;57;p31"/>
          <p:cNvSpPr>
            <a:spLocks noGrp="1"/>
          </p:cNvSpPr>
          <p:nvPr>
            <p:ph type="pic" idx="3"/>
          </p:nvPr>
        </p:nvSpPr>
        <p:spPr>
          <a:xfrm>
            <a:off x="3420095" y="806330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39" name="Google Shape;58;p31"/>
          <p:cNvSpPr>
            <a:spLocks noGrp="1"/>
          </p:cNvSpPr>
          <p:nvPr>
            <p:ph type="pic" idx="4"/>
          </p:nvPr>
        </p:nvSpPr>
        <p:spPr>
          <a:xfrm>
            <a:off x="688771" y="3559614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40" name="Google Shape;59;p31"/>
          <p:cNvSpPr>
            <a:spLocks noGrp="1"/>
          </p:cNvSpPr>
          <p:nvPr>
            <p:ph type="pic" idx="5"/>
          </p:nvPr>
        </p:nvSpPr>
        <p:spPr>
          <a:xfrm>
            <a:off x="3420095" y="3559614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6">
  <p:cSld name="Placeholder 16">
    <p:spTree>
      <p:nvGrpSpPr>
        <p:cNvPr id="547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8" name="Google Shape;61;p32"/>
          <p:cNvSpPr>
            <a:spLocks noGrp="1"/>
          </p:cNvSpPr>
          <p:nvPr>
            <p:ph type="pic" idx="2"/>
          </p:nvPr>
        </p:nvSpPr>
        <p:spPr>
          <a:xfrm>
            <a:off x="285010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89" name="Google Shape;62;p32"/>
          <p:cNvSpPr>
            <a:spLocks noGrp="1"/>
          </p:cNvSpPr>
          <p:nvPr>
            <p:ph type="pic" idx="3"/>
          </p:nvPr>
        </p:nvSpPr>
        <p:spPr>
          <a:xfrm>
            <a:off x="2636322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90" name="Google Shape;63;p32"/>
          <p:cNvSpPr>
            <a:spLocks noGrp="1"/>
          </p:cNvSpPr>
          <p:nvPr>
            <p:ph type="pic" idx="4"/>
          </p:nvPr>
        </p:nvSpPr>
        <p:spPr>
          <a:xfrm>
            <a:off x="4987634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91" name="Google Shape;64;p32"/>
          <p:cNvSpPr>
            <a:spLocks noGrp="1"/>
          </p:cNvSpPr>
          <p:nvPr>
            <p:ph type="pic" idx="5"/>
          </p:nvPr>
        </p:nvSpPr>
        <p:spPr>
          <a:xfrm>
            <a:off x="7338946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92" name="Google Shape;65;p32"/>
          <p:cNvSpPr>
            <a:spLocks noGrp="1"/>
          </p:cNvSpPr>
          <p:nvPr>
            <p:ph type="pic" idx="6"/>
          </p:nvPr>
        </p:nvSpPr>
        <p:spPr>
          <a:xfrm>
            <a:off x="9690258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7">
  <p:cSld name="Placeholder 17">
    <p:spTree>
      <p:nvGrpSpPr>
        <p:cNvPr id="534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51" name="Google Shape;67;p33"/>
          <p:cNvSpPr>
            <a:spLocks noGrp="1"/>
          </p:cNvSpPr>
          <p:nvPr>
            <p:ph type="pic" idx="2"/>
          </p:nvPr>
        </p:nvSpPr>
        <p:spPr>
          <a:xfrm>
            <a:off x="2362200" y="208026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652" name="Google Shape;68;p33"/>
          <p:cNvSpPr>
            <a:spLocks noGrp="1"/>
          </p:cNvSpPr>
          <p:nvPr>
            <p:ph type="pic" idx="3"/>
          </p:nvPr>
        </p:nvSpPr>
        <p:spPr>
          <a:xfrm>
            <a:off x="2362200" y="445940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8">
  <p:cSld name="Placeholder 18">
    <p:spTree>
      <p:nvGrpSpPr>
        <p:cNvPr id="544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3" name="Google Shape;70;p34"/>
          <p:cNvSpPr>
            <a:spLocks noGrp="1"/>
          </p:cNvSpPr>
          <p:nvPr>
            <p:ph type="pic" idx="2"/>
          </p:nvPr>
        </p:nvSpPr>
        <p:spPr>
          <a:xfrm>
            <a:off x="6870700" y="55371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684" name="Google Shape;71;p34"/>
          <p:cNvSpPr>
            <a:spLocks noGrp="1"/>
          </p:cNvSpPr>
          <p:nvPr>
            <p:ph type="pic" idx="3"/>
          </p:nvPr>
        </p:nvSpPr>
        <p:spPr>
          <a:xfrm>
            <a:off x="6870700" y="293285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685" name="Google Shape;72;p34"/>
          <p:cNvSpPr>
            <a:spLocks noGrp="1"/>
          </p:cNvSpPr>
          <p:nvPr>
            <p:ph type="pic" idx="4"/>
          </p:nvPr>
        </p:nvSpPr>
        <p:spPr>
          <a:xfrm>
            <a:off x="0" y="5168900"/>
            <a:ext cx="12192000" cy="16891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2">
  <p:cSld name="Placeholder 02">
    <p:spTree>
      <p:nvGrpSpPr>
        <p:cNvPr id="107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3" name="Google Shape;14;p1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404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9">
  <p:cSld name="Placeholder 19">
    <p:spTree>
      <p:nvGrpSpPr>
        <p:cNvPr id="529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Google Shape;74;p35"/>
          <p:cNvSpPr>
            <a:spLocks noGrp="1"/>
          </p:cNvSpPr>
          <p:nvPr>
            <p:ph type="pic" idx="2"/>
          </p:nvPr>
        </p:nvSpPr>
        <p:spPr>
          <a:xfrm>
            <a:off x="1396790" y="2143932"/>
            <a:ext cx="1712537" cy="346956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627" name="Google Shape;75;p35"/>
          <p:cNvSpPr>
            <a:spLocks noGrp="1"/>
          </p:cNvSpPr>
          <p:nvPr>
            <p:ph type="pic" idx="3"/>
          </p:nvPr>
        </p:nvSpPr>
        <p:spPr>
          <a:xfrm>
            <a:off x="2605692" y="1243661"/>
            <a:ext cx="2151709" cy="436983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0">
  <p:cSld name="Placeholder 20">
    <p:spTree>
      <p:nvGrpSpPr>
        <p:cNvPr id="539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60" name="Google Shape;77;p36"/>
          <p:cNvSpPr>
            <a:spLocks noGrp="1"/>
          </p:cNvSpPr>
          <p:nvPr>
            <p:ph type="pic" idx="2"/>
          </p:nvPr>
        </p:nvSpPr>
        <p:spPr>
          <a:xfrm>
            <a:off x="5313380" y="1695735"/>
            <a:ext cx="5721396" cy="3717705"/>
          </a:xfrm>
          <a:prstGeom prst="roundRect">
            <a:avLst>
              <a:gd name="adj" fmla="val 1861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1">
  <p:cSld name="Placeholder 21">
    <p:spTree>
      <p:nvGrpSpPr>
        <p:cNvPr id="540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61" name="Google Shape;79;p37"/>
          <p:cNvSpPr>
            <a:spLocks noGrp="1"/>
          </p:cNvSpPr>
          <p:nvPr>
            <p:ph type="pic" idx="2"/>
          </p:nvPr>
        </p:nvSpPr>
        <p:spPr>
          <a:xfrm>
            <a:off x="4229100" y="2314575"/>
            <a:ext cx="3724275" cy="211455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2">
  <p:cSld name="Placeholder 22">
    <p:spTree>
      <p:nvGrpSpPr>
        <p:cNvPr id="548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93" name="Google Shape;81;p38"/>
          <p:cNvSpPr>
            <a:spLocks noGrp="1"/>
          </p:cNvSpPr>
          <p:nvPr>
            <p:ph type="pic" idx="2"/>
          </p:nvPr>
        </p:nvSpPr>
        <p:spPr>
          <a:xfrm>
            <a:off x="8257120" y="944118"/>
            <a:ext cx="2446640" cy="496976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3">
  <p:cSld name="Placeholder 23">
    <p:spTree>
      <p:nvGrpSpPr>
        <p:cNvPr id="517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96" name="Google Shape;83;p3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4">
  <p:cSld name="Placeholder 24">
    <p:spTree>
      <p:nvGrpSpPr>
        <p:cNvPr id="527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4" name="Google Shape;85;p40"/>
          <p:cNvSpPr>
            <a:spLocks noGrp="1"/>
          </p:cNvSpPr>
          <p:nvPr>
            <p:ph type="pic" idx="2"/>
          </p:nvPr>
        </p:nvSpPr>
        <p:spPr>
          <a:xfrm>
            <a:off x="7004685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5">
  <p:cSld name="Placeholder 25">
    <p:spTree>
      <p:nvGrpSpPr>
        <p:cNvPr id="542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1" name="Google Shape;87;p41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6">
  <p:cSld name="Placeholder 26">
    <p:spTree>
      <p:nvGrpSpPr>
        <p:cNvPr id="550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99" name="Google Shape;89;p42"/>
          <p:cNvSpPr>
            <a:spLocks noGrp="1"/>
          </p:cNvSpPr>
          <p:nvPr>
            <p:ph type="pic" idx="2"/>
          </p:nvPr>
        </p:nvSpPr>
        <p:spPr>
          <a:xfrm>
            <a:off x="7004685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7">
  <p:cSld name="Placeholder 27">
    <p:spTree>
      <p:nvGrpSpPr>
        <p:cNvPr id="524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19" name="Google Shape;91;p43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8">
  <p:cSld name="Placeholder 28">
    <p:spTree>
      <p:nvGrpSpPr>
        <p:cNvPr id="53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36" name="Google Shape;93;p44"/>
          <p:cNvSpPr>
            <a:spLocks noGrp="1"/>
          </p:cNvSpPr>
          <p:nvPr>
            <p:ph type="pic" idx="2"/>
          </p:nvPr>
        </p:nvSpPr>
        <p:spPr>
          <a:xfrm>
            <a:off x="7556500" y="0"/>
            <a:ext cx="463550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1">
  <p:cSld name="Placeholder 11">
    <p:spTree>
      <p:nvGrpSpPr>
        <p:cNvPr id="523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17" name="Google Shape;16;p18"/>
          <p:cNvSpPr>
            <a:spLocks noGrp="1"/>
          </p:cNvSpPr>
          <p:nvPr>
            <p:ph type="pic" idx="2"/>
          </p:nvPr>
        </p:nvSpPr>
        <p:spPr>
          <a:xfrm>
            <a:off x="6387465" y="124396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8" name="Google Shape;17;p18"/>
          <p:cNvSpPr>
            <a:spLocks noGrp="1"/>
          </p:cNvSpPr>
          <p:nvPr>
            <p:ph type="pic" idx="3"/>
          </p:nvPr>
        </p:nvSpPr>
        <p:spPr>
          <a:xfrm>
            <a:off x="8724900" y="3552824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30">
  <p:cSld name="Placeholder 30">
    <p:spTree>
      <p:nvGrpSpPr>
        <p:cNvPr id="545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6" name="Google Shape;95;p45"/>
          <p:cNvSpPr>
            <a:spLocks noGrp="1"/>
          </p:cNvSpPr>
          <p:nvPr>
            <p:ph type="pic" idx="2"/>
          </p:nvPr>
        </p:nvSpPr>
        <p:spPr>
          <a:xfrm>
            <a:off x="2689860" y="1217295"/>
            <a:ext cx="6812280" cy="255460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64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5" name="Google Shape;97;g191abe3b490_2_10"/>
          <p:cNvSpPr txBox="1">
            <a:spLocks noGrp="1"/>
          </p:cNvSpPr>
          <p:nvPr>
            <p:ph type="dt" idx="10"/>
          </p:nvPr>
        </p:nvSpPr>
        <p:spPr>
          <a:xfrm>
            <a:off x="304800" y="4237567"/>
            <a:ext cx="1422400" cy="243417"/>
          </a:xfrm>
          <a:prstGeom prst="rect"/>
          <a:noFill/>
          <a:ln>
            <a:noFill/>
          </a:ln>
        </p:spPr>
        <p:txBody>
          <a:bodyPr anchor="ctr" anchorCtr="0" bIns="30475" lIns="60950" rIns="60950" spcFirstLastPara="1" tIns="30475" wrap="square">
            <a:noAutofit/>
          </a:bodyPr>
          <a:lstStyle>
            <a:lvl1pPr algn="l" lvl="0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1pPr>
            <a:lvl2pPr algn="l" lvl="1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algn="l" lvl="2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algn="l" lvl="3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algn="l" lvl="4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algn="l" lvl="5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algn="l" lvl="6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algn="l" lvl="7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algn="l" lvl="8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  <p:sp>
        <p:nvSpPr>
          <p:cNvPr id="1048666" name="Google Shape;98;g191abe3b490_2_10"/>
          <p:cNvSpPr txBox="1">
            <a:spLocks noGrp="1"/>
          </p:cNvSpPr>
          <p:nvPr>
            <p:ph type="ftr" idx="11"/>
          </p:nvPr>
        </p:nvSpPr>
        <p:spPr>
          <a:xfrm>
            <a:off x="2082800" y="4237567"/>
            <a:ext cx="1930400" cy="243417"/>
          </a:xfrm>
          <a:prstGeom prst="rect"/>
          <a:noFill/>
          <a:ln>
            <a:noFill/>
          </a:ln>
        </p:spPr>
        <p:txBody>
          <a:bodyPr anchor="ctr" anchorCtr="0" bIns="30475" lIns="60950" rIns="60950" spcFirstLastPara="1" tIns="30475" wrap="square">
            <a:noAutofit/>
          </a:bodyPr>
          <a:lstStyle>
            <a:lvl1pPr algn="ctr" lvl="0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1pPr>
            <a:lvl2pPr algn="l" lvl="1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algn="l" lvl="2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algn="l" lvl="3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algn="l" lvl="4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algn="l" lvl="5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algn="l" lvl="6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algn="l" lvl="7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algn="l" lvl="8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  <p:sp>
        <p:nvSpPr>
          <p:cNvPr id="1048667" name="Google Shape;99;g191abe3b490_2_10"/>
          <p:cNvSpPr txBox="1">
            <a:spLocks noGrp="1"/>
          </p:cNvSpPr>
          <p:nvPr>
            <p:ph type="sldNum" idx="12"/>
          </p:nvPr>
        </p:nvSpPr>
        <p:spPr>
          <a:xfrm>
            <a:off x="4368800" y="4237567"/>
            <a:ext cx="1422400" cy="243417"/>
          </a:xfrm>
          <a:prstGeom prst="rect"/>
          <a:noFill/>
          <a:ln>
            <a:noFill/>
          </a:ln>
        </p:spPr>
        <p:txBody>
          <a:bodyPr anchor="ctr" anchorCtr="0" bIns="30475" lIns="60950" rIns="60950" spcFirstLastPara="1" tIns="30475" wrap="square">
            <a:noAutofit/>
          </a:bodyPr>
          <a:lstStyle>
            <a:lvl1pPr algn="r" indent="0" lvl="0" marL="0">
              <a:spcBef>
                <a:spcPts val="0"/>
              </a:spcBef>
              <a:buNone/>
              <a:defRPr sz="900"/>
            </a:lvl1pPr>
            <a:lvl2pPr algn="r" indent="0" lvl="1" marL="0">
              <a:spcBef>
                <a:spcPts val="0"/>
              </a:spcBef>
              <a:buNone/>
              <a:defRPr sz="900"/>
            </a:lvl2pPr>
            <a:lvl3pPr algn="r" indent="0" lvl="2" marL="0">
              <a:spcBef>
                <a:spcPts val="0"/>
              </a:spcBef>
              <a:buNone/>
              <a:defRPr sz="900"/>
            </a:lvl3pPr>
            <a:lvl4pPr algn="r" indent="0" lvl="3" marL="0">
              <a:spcBef>
                <a:spcPts val="0"/>
              </a:spcBef>
              <a:buNone/>
              <a:defRPr sz="900"/>
            </a:lvl4pPr>
            <a:lvl5pPr algn="r" indent="0" lvl="4" marL="0">
              <a:spcBef>
                <a:spcPts val="0"/>
              </a:spcBef>
              <a:buNone/>
              <a:defRPr sz="900"/>
            </a:lvl5pPr>
            <a:lvl6pPr algn="r" indent="0" lvl="5" marL="0">
              <a:spcBef>
                <a:spcPts val="0"/>
              </a:spcBef>
              <a:buNone/>
              <a:defRPr sz="900"/>
            </a:lvl6pPr>
            <a:lvl7pPr algn="r" indent="0" lvl="6" marL="0">
              <a:spcBef>
                <a:spcPts val="0"/>
              </a:spcBef>
              <a:buNone/>
              <a:defRPr sz="900"/>
            </a:lvl7pPr>
            <a:lvl8pPr algn="r" indent="0" lvl="7" marL="0">
              <a:spcBef>
                <a:spcPts val="0"/>
              </a:spcBef>
              <a:buNone/>
              <a:defRPr sz="900"/>
            </a:lvl8pPr>
            <a:lvl9pPr algn="r" indent="0" lvl="8" marL="0">
              <a:spcBef>
                <a:spcPts val="0"/>
              </a:spcBef>
              <a:buNone/>
              <a:defRPr sz="900"/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9">
    <p:bg>
      <p:bgPr>
        <a:solidFill>
          <a:schemeClr val="lt1"/>
        </a:solidFill>
      </p:bgPr>
    </p:bg>
    <p:spTree>
      <p:nvGrpSpPr>
        <p:cNvPr id="518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97" name="Google Shape;101;ga621d132ea48405_412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9pPr>
          </a:lstStyle>
          <a:p/>
        </p:txBody>
      </p:sp>
      <p:sp>
        <p:nvSpPr>
          <p:cNvPr id="1050598" name="Google Shape;102;ga621d132ea48405_412"/>
          <p:cNvSpPr txBox="1">
            <a:spLocks noGrp="1"/>
          </p:cNvSpPr>
          <p:nvPr>
            <p:ph type="subTitle" idx="1"/>
          </p:nvPr>
        </p:nvSpPr>
        <p:spPr>
          <a:xfrm>
            <a:off x="699748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99" name="Google Shape;103;ga621d132ea48405_412"/>
          <p:cNvSpPr txBox="1">
            <a:spLocks noGrp="1"/>
          </p:cNvSpPr>
          <p:nvPr>
            <p:ph type="subTitle" idx="2"/>
          </p:nvPr>
        </p:nvSpPr>
        <p:spPr>
          <a:xfrm>
            <a:off x="4675021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600" name="Google Shape;104;ga621d132ea48405_412"/>
          <p:cNvSpPr txBox="1">
            <a:spLocks noGrp="1"/>
          </p:cNvSpPr>
          <p:nvPr>
            <p:ph type="subTitle" idx="3"/>
          </p:nvPr>
        </p:nvSpPr>
        <p:spPr>
          <a:xfrm>
            <a:off x="92194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601" name="Google Shape;105;ga621d132ea48405_412"/>
          <p:cNvSpPr txBox="1">
            <a:spLocks noGrp="1"/>
          </p:cNvSpPr>
          <p:nvPr>
            <p:ph type="subTitle" idx="4"/>
          </p:nvPr>
        </p:nvSpPr>
        <p:spPr>
          <a:xfrm>
            <a:off x="489708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602" name="Google Shape;106;ga621d132ea48405_412"/>
          <p:cNvSpPr txBox="1">
            <a:spLocks noGrp="1"/>
          </p:cNvSpPr>
          <p:nvPr>
            <p:ph type="subTitle" idx="5"/>
          </p:nvPr>
        </p:nvSpPr>
        <p:spPr>
          <a:xfrm>
            <a:off x="8650296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603" name="Google Shape;107;ga621d132ea48405_412"/>
          <p:cNvSpPr txBox="1">
            <a:spLocks noGrp="1"/>
          </p:cNvSpPr>
          <p:nvPr>
            <p:ph type="subTitle" idx="6"/>
          </p:nvPr>
        </p:nvSpPr>
        <p:spPr>
          <a:xfrm>
            <a:off x="8872379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2">
  <p:cSld name="CUSTOM_16">
    <p:spTree>
      <p:nvGrpSpPr>
        <p:cNvPr id="530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8" name="Google Shape;109;g191abe3b490_12_2608"/>
          <p:cNvSpPr txBox="1">
            <a:spLocks noGrp="1"/>
          </p:cNvSpPr>
          <p:nvPr>
            <p:ph type="title"/>
          </p:nvPr>
        </p:nvSpPr>
        <p:spPr>
          <a:xfrm>
            <a:off x="914400" y="593367"/>
            <a:ext cx="103632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/>
            </a:lvl9pPr>
          </a:lstStyle>
          <a:p/>
        </p:txBody>
      </p:sp>
      <p:sp>
        <p:nvSpPr>
          <p:cNvPr id="1050629" name="Google Shape;110;g191abe3b490_12_2608"/>
          <p:cNvSpPr txBox="1">
            <a:spLocks noGrp="1"/>
          </p:cNvSpPr>
          <p:nvPr>
            <p:ph type="subTitle" idx="1"/>
          </p:nvPr>
        </p:nvSpPr>
        <p:spPr>
          <a:xfrm>
            <a:off x="965200" y="1464700"/>
            <a:ext cx="10312500" cy="4675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1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37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37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9pPr>
          </a:lstStyle>
          <a:p/>
        </p:txBody>
      </p:sp>
      <p:sp>
        <p:nvSpPr>
          <p:cNvPr id="1050630" name="Google Shape;111;g191abe3b490_12_2608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31" name="Google Shape;112;g191abe3b490_12_2608"/>
          <p:cNvSpPr/>
          <p:nvPr/>
        </p:nvSpPr>
        <p:spPr>
          <a:xfrm>
            <a:off x="860100" y="723467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32" name="Google Shape;113;g191abe3b490_12_2608"/>
          <p:cNvSpPr/>
          <p:nvPr/>
        </p:nvSpPr>
        <p:spPr>
          <a:xfrm>
            <a:off x="11620300" y="3017200"/>
            <a:ext cx="357900" cy="3579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33" name="Google Shape;114;g191abe3b490_12_2608"/>
          <p:cNvSpPr/>
          <p:nvPr/>
        </p:nvSpPr>
        <p:spPr>
          <a:xfrm>
            <a:off x="11900867" y="3518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34" name="Google Shape;115;g191abe3b490_12_2608"/>
          <p:cNvSpPr/>
          <p:nvPr/>
        </p:nvSpPr>
        <p:spPr>
          <a:xfrm>
            <a:off x="11978300" y="2596033"/>
            <a:ext cx="48000" cy="480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35" name="Google Shape;116;g191abe3b490_12_2608"/>
          <p:cNvSpPr/>
          <p:nvPr/>
        </p:nvSpPr>
        <p:spPr>
          <a:xfrm>
            <a:off x="398400" y="6317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s and descriptions">
  <p:cSld name="Title, subtitles and descriptions">
    <p:bg>
      <p:bgPr>
        <a:solidFill>
          <a:schemeClr val="accent3"/>
        </a:solidFill>
      </p:bgPr>
    </p:bg>
    <p:spTree>
      <p:nvGrpSpPr>
        <p:cNvPr id="54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62" name="Google Shape;118;g19347faee97_5_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Calibri"/>
              <a:buNone/>
              <a:defRPr b="0" cap="none" sz="44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50663" name="Google Shape;119;g19347faee97_5_5"/>
          <p:cNvSpPr txBox="1">
            <a:spLocks noGrp="1"/>
          </p:cNvSpPr>
          <p:nvPr>
            <p:ph type="subTitle" idx="1"/>
          </p:nvPr>
        </p:nvSpPr>
        <p:spPr>
          <a:xfrm>
            <a:off x="8750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4" name="Google Shape;120;g19347faee97_5_5"/>
          <p:cNvSpPr txBox="1">
            <a:spLocks noGrp="1"/>
          </p:cNvSpPr>
          <p:nvPr>
            <p:ph type="subTitle" idx="2"/>
          </p:nvPr>
        </p:nvSpPr>
        <p:spPr>
          <a:xfrm>
            <a:off x="8750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5" name="Google Shape;121;g19347faee97_5_5"/>
          <p:cNvSpPr txBox="1">
            <a:spLocks noGrp="1"/>
          </p:cNvSpPr>
          <p:nvPr>
            <p:ph type="subTitle" idx="3"/>
          </p:nvPr>
        </p:nvSpPr>
        <p:spPr>
          <a:xfrm>
            <a:off x="44818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6" name="Google Shape;122;g19347faee97_5_5"/>
          <p:cNvSpPr txBox="1">
            <a:spLocks noGrp="1"/>
          </p:cNvSpPr>
          <p:nvPr>
            <p:ph type="subTitle" idx="4"/>
          </p:nvPr>
        </p:nvSpPr>
        <p:spPr>
          <a:xfrm>
            <a:off x="44818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7" name="Google Shape;123;g19347faee97_5_5"/>
          <p:cNvSpPr txBox="1">
            <a:spLocks noGrp="1"/>
          </p:cNvSpPr>
          <p:nvPr>
            <p:ph type="subTitle" idx="5"/>
          </p:nvPr>
        </p:nvSpPr>
        <p:spPr>
          <a:xfrm>
            <a:off x="80886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8" name="Google Shape;124;g19347faee97_5_5"/>
          <p:cNvSpPr txBox="1">
            <a:spLocks noGrp="1"/>
          </p:cNvSpPr>
          <p:nvPr>
            <p:ph type="subTitle" idx="6"/>
          </p:nvPr>
        </p:nvSpPr>
        <p:spPr>
          <a:xfrm>
            <a:off x="80886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69" name="Google Shape;125;g19347faee97_5_5"/>
          <p:cNvSpPr txBox="1">
            <a:spLocks noGrp="1"/>
          </p:cNvSpPr>
          <p:nvPr>
            <p:ph type="subTitle" idx="7"/>
          </p:nvPr>
        </p:nvSpPr>
        <p:spPr>
          <a:xfrm>
            <a:off x="8750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0" name="Google Shape;126;g19347faee97_5_5"/>
          <p:cNvSpPr txBox="1">
            <a:spLocks noGrp="1"/>
          </p:cNvSpPr>
          <p:nvPr>
            <p:ph type="subTitle" idx="8"/>
          </p:nvPr>
        </p:nvSpPr>
        <p:spPr>
          <a:xfrm>
            <a:off x="8750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1" name="Google Shape;127;g19347faee97_5_5"/>
          <p:cNvSpPr txBox="1">
            <a:spLocks noGrp="1"/>
          </p:cNvSpPr>
          <p:nvPr>
            <p:ph type="subTitle" idx="9"/>
          </p:nvPr>
        </p:nvSpPr>
        <p:spPr>
          <a:xfrm>
            <a:off x="44818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2" name="Google Shape;128;g19347faee97_5_5"/>
          <p:cNvSpPr txBox="1">
            <a:spLocks noGrp="1"/>
          </p:cNvSpPr>
          <p:nvPr>
            <p:ph type="subTitle" idx="13"/>
          </p:nvPr>
        </p:nvSpPr>
        <p:spPr>
          <a:xfrm>
            <a:off x="44818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3" name="Google Shape;129;g19347faee97_5_5"/>
          <p:cNvSpPr txBox="1">
            <a:spLocks noGrp="1"/>
          </p:cNvSpPr>
          <p:nvPr>
            <p:ph type="subTitle" idx="14"/>
          </p:nvPr>
        </p:nvSpPr>
        <p:spPr>
          <a:xfrm>
            <a:off x="80886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4" name="Google Shape;130;g19347faee97_5_5"/>
          <p:cNvSpPr txBox="1">
            <a:spLocks noGrp="1"/>
          </p:cNvSpPr>
          <p:nvPr>
            <p:ph type="subTitle" idx="15"/>
          </p:nvPr>
        </p:nvSpPr>
        <p:spPr>
          <a:xfrm>
            <a:off x="80886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75" name="Google Shape;131;g19347faee97_5_5"/>
          <p:cNvSpPr txBox="1">
            <a:spLocks noGrp="1"/>
          </p:cNvSpPr>
          <p:nvPr>
            <p:ph type="title" idx="16"/>
          </p:nvPr>
        </p:nvSpPr>
        <p:spPr>
          <a:xfrm>
            <a:off x="2043067" y="1657033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50676" name="Google Shape;132;g19347faee97_5_5"/>
          <p:cNvSpPr txBox="1">
            <a:spLocks noGrp="1"/>
          </p:cNvSpPr>
          <p:nvPr>
            <p:ph type="title" idx="17"/>
          </p:nvPr>
        </p:nvSpPr>
        <p:spPr>
          <a:xfrm>
            <a:off x="2043067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50677" name="Google Shape;133;g19347faee97_5_5"/>
          <p:cNvSpPr txBox="1">
            <a:spLocks noGrp="1"/>
          </p:cNvSpPr>
          <p:nvPr>
            <p:ph type="title" idx="18"/>
          </p:nvPr>
        </p:nvSpPr>
        <p:spPr>
          <a:xfrm>
            <a:off x="5649933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50678" name="Google Shape;134;g19347faee97_5_5"/>
          <p:cNvSpPr txBox="1">
            <a:spLocks noGrp="1"/>
          </p:cNvSpPr>
          <p:nvPr>
            <p:ph type="title" idx="19"/>
          </p:nvPr>
        </p:nvSpPr>
        <p:spPr>
          <a:xfrm>
            <a:off x="5650000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50679" name="Google Shape;135;g19347faee97_5_5"/>
          <p:cNvSpPr txBox="1">
            <a:spLocks noGrp="1"/>
          </p:cNvSpPr>
          <p:nvPr>
            <p:ph type="title" idx="20"/>
          </p:nvPr>
        </p:nvSpPr>
        <p:spPr>
          <a:xfrm>
            <a:off x="9256600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50680" name="Google Shape;136;g19347faee97_5_5"/>
          <p:cNvSpPr txBox="1">
            <a:spLocks noGrp="1"/>
          </p:cNvSpPr>
          <p:nvPr>
            <p:ph type="title" idx="21"/>
          </p:nvPr>
        </p:nvSpPr>
        <p:spPr>
          <a:xfrm>
            <a:off x="9256400" y="4112567"/>
            <a:ext cx="8925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537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8" name="Google Shape;138;g19347faee97_5_29"/>
          <p:cNvGrpSpPr/>
          <p:nvPr/>
        </p:nvGrpSpPr>
        <p:grpSpPr>
          <a:xfrm rot="2506023">
            <a:off x="1699517" y="-937675"/>
            <a:ext cx="9083674" cy="8733375"/>
            <a:chOff x="1786775" y="1002200"/>
            <a:chExt cx="3861800" cy="3712875"/>
          </a:xfrm>
        </p:grpSpPr>
        <p:sp>
          <p:nvSpPr>
            <p:cNvPr id="1050655" name="Google Shape;139;g19347faee97_5_29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656" name="Google Shape;140;g19347faee97_5_29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657" name="Google Shape;141;g19347faee97_5_29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658" name="Google Shape;142;g19347faee97_5_29"/>
          <p:cNvSpPr txBox="1">
            <a:spLocks noGrp="1"/>
          </p:cNvSpPr>
          <p:nvPr>
            <p:ph type="title"/>
          </p:nvPr>
        </p:nvSpPr>
        <p:spPr>
          <a:xfrm>
            <a:off x="1769400" y="2130784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0"/>
              <a:buFont typeface="Calibri"/>
              <a:buNone/>
              <a:defRPr b="0" cap="none" sz="6700" i="0" strike="noStrike" u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9pPr>
          </a:lstStyle>
          <a:p/>
        </p:txBody>
      </p:sp>
      <p:sp>
        <p:nvSpPr>
          <p:cNvPr id="1050659" name="Google Shape;143;g19347faee97_5_29"/>
          <p:cNvSpPr txBox="1">
            <a:spLocks noGrp="1"/>
          </p:cNvSpPr>
          <p:nvPr>
            <p:ph type="subTitle" idx="1"/>
          </p:nvPr>
        </p:nvSpPr>
        <p:spPr>
          <a:xfrm>
            <a:off x="1769400" y="3927284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3">
  <p:cSld name="Title and body 3">
    <p:spTree>
      <p:nvGrpSpPr>
        <p:cNvPr id="549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94" name="Google Shape;145;g19347faee97_5_36"/>
          <p:cNvSpPr/>
          <p:nvPr/>
        </p:nvSpPr>
        <p:spPr>
          <a:xfrm rot="277628">
            <a:off x="5316910" y="-3412888"/>
            <a:ext cx="14442704" cy="13949073"/>
          </a:xfrm>
          <a:custGeom>
            <a:avLst/>
            <a:ahLst/>
            <a:rect l="l" t="t" r="r" b="b"/>
            <a:pathLst>
              <a:path w="154472" h="148515" extrusionOk="0">
                <a:moveTo>
                  <a:pt x="88939" y="1"/>
                </a:moveTo>
                <a:cubicBezTo>
                  <a:pt x="84075" y="1"/>
                  <a:pt x="78478" y="1648"/>
                  <a:pt x="72069" y="5669"/>
                </a:cubicBezTo>
                <a:cubicBezTo>
                  <a:pt x="61886" y="12053"/>
                  <a:pt x="57236" y="24332"/>
                  <a:pt x="54895" y="35457"/>
                </a:cubicBezTo>
                <a:cubicBezTo>
                  <a:pt x="52919" y="44971"/>
                  <a:pt x="43679" y="50017"/>
                  <a:pt x="36810" y="55214"/>
                </a:cubicBezTo>
                <a:cubicBezTo>
                  <a:pt x="28360" y="61658"/>
                  <a:pt x="20214" y="69135"/>
                  <a:pt x="13587" y="77677"/>
                </a:cubicBezTo>
                <a:cubicBezTo>
                  <a:pt x="0" y="95245"/>
                  <a:pt x="821" y="110929"/>
                  <a:pt x="9454" y="127465"/>
                </a:cubicBezTo>
                <a:cubicBezTo>
                  <a:pt x="12068" y="132419"/>
                  <a:pt x="16505" y="140140"/>
                  <a:pt x="29545" y="145489"/>
                </a:cubicBezTo>
                <a:cubicBezTo>
                  <a:pt x="34502" y="147539"/>
                  <a:pt x="39466" y="148514"/>
                  <a:pt x="44435" y="148514"/>
                </a:cubicBezTo>
                <a:cubicBezTo>
                  <a:pt x="57077" y="148514"/>
                  <a:pt x="69748" y="142200"/>
                  <a:pt x="82403" y="131203"/>
                </a:cubicBezTo>
                <a:cubicBezTo>
                  <a:pt x="86415" y="127708"/>
                  <a:pt x="89850" y="123544"/>
                  <a:pt x="93680" y="119866"/>
                </a:cubicBezTo>
                <a:cubicBezTo>
                  <a:pt x="97662" y="115975"/>
                  <a:pt x="102130" y="112601"/>
                  <a:pt x="106902" y="109774"/>
                </a:cubicBezTo>
                <a:cubicBezTo>
                  <a:pt x="118027" y="103209"/>
                  <a:pt x="131097" y="99561"/>
                  <a:pt x="140672" y="90868"/>
                </a:cubicBezTo>
                <a:cubicBezTo>
                  <a:pt x="145748" y="86279"/>
                  <a:pt x="149608" y="80351"/>
                  <a:pt x="151766" y="73847"/>
                </a:cubicBezTo>
                <a:cubicBezTo>
                  <a:pt x="154471" y="65670"/>
                  <a:pt x="152739" y="56977"/>
                  <a:pt x="146721" y="50898"/>
                </a:cubicBezTo>
                <a:cubicBezTo>
                  <a:pt x="141037" y="45153"/>
                  <a:pt x="136112" y="44849"/>
                  <a:pt x="130337" y="42205"/>
                </a:cubicBezTo>
                <a:cubicBezTo>
                  <a:pt x="123285" y="38892"/>
                  <a:pt x="118392" y="36430"/>
                  <a:pt x="116294" y="28892"/>
                </a:cubicBezTo>
                <a:cubicBezTo>
                  <a:pt x="113682" y="19384"/>
                  <a:pt x="105622" y="1"/>
                  <a:pt x="88939" y="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95" name="Google Shape;146;g19347faee97_5_36"/>
          <p:cNvSpPr txBox="1">
            <a:spLocks noGrp="1"/>
          </p:cNvSpPr>
          <p:nvPr>
            <p:ph type="title"/>
          </p:nvPr>
        </p:nvSpPr>
        <p:spPr>
          <a:xfrm>
            <a:off x="973263" y="1898000"/>
            <a:ext cx="4090500" cy="1949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Fredoka One"/>
              <a:buNone/>
              <a:defRPr b="0" cap="none" sz="44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sz="1800">
                <a:solidFill>
                  <a:srgbClr val="FFFFFF"/>
                </a:solidFill>
              </a:defRPr>
            </a:lvl9pPr>
          </a:lstStyle>
          <a:p/>
        </p:txBody>
      </p:sp>
      <p:sp>
        <p:nvSpPr>
          <p:cNvPr id="1050696" name="Google Shape;147;g19347faee97_5_36"/>
          <p:cNvSpPr txBox="1">
            <a:spLocks noGrp="1"/>
          </p:cNvSpPr>
          <p:nvPr>
            <p:ph type="subTitle" idx="1"/>
          </p:nvPr>
        </p:nvSpPr>
        <p:spPr>
          <a:xfrm>
            <a:off x="965200" y="3847600"/>
            <a:ext cx="4090500" cy="11124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Font typeface="Arial"/>
              <a:buNone/>
              <a:defRPr b="0" cap="none" sz="3700" i="0" strike="noStrike" u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97" name="Google Shape;148;g19347faee97_5_36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98" name="Google Shape;149;g19347faee97_5_36"/>
          <p:cNvSpPr/>
          <p:nvPr/>
        </p:nvSpPr>
        <p:spPr>
          <a:xfrm>
            <a:off x="398400" y="1074033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 2">
  <p:cSld name="One column text 2">
    <p:spTree>
      <p:nvGrpSpPr>
        <p:cNvPr id="520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08" name="Google Shape;151;g19347faee97_5_42"/>
          <p:cNvSpPr txBox="1">
            <a:spLocks noGrp="1"/>
          </p:cNvSpPr>
          <p:nvPr>
            <p:ph type="title"/>
          </p:nvPr>
        </p:nvSpPr>
        <p:spPr>
          <a:xfrm>
            <a:off x="5437833" y="1559133"/>
            <a:ext cx="6179700" cy="2999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Fredoka One"/>
              <a:buNone/>
              <a:defRPr b="0" cap="none" sz="96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50609" name="Google Shape;152;g19347faee97_5_42"/>
          <p:cNvSpPr txBox="1">
            <a:spLocks noGrp="1"/>
          </p:cNvSpPr>
          <p:nvPr>
            <p:ph type="subTitle" idx="1"/>
          </p:nvPr>
        </p:nvSpPr>
        <p:spPr>
          <a:xfrm>
            <a:off x="5437833" y="4558733"/>
            <a:ext cx="42717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2">
  <p:cSld name="1_Placeholder 02">
    <p:spTree>
      <p:nvGrpSpPr>
        <p:cNvPr id="486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54" name="Google Shape;154;g19347faee97_5_45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404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2">
  <p:cSld name="Title and body 2">
    <p:spTree>
      <p:nvGrpSpPr>
        <p:cNvPr id="270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76" name="Google Shape;156;g19347faee97_5_47"/>
          <p:cNvSpPr txBox="1">
            <a:spLocks noGrp="1"/>
          </p:cNvSpPr>
          <p:nvPr>
            <p:ph type="title"/>
          </p:nvPr>
        </p:nvSpPr>
        <p:spPr>
          <a:xfrm>
            <a:off x="914400" y="593367"/>
            <a:ext cx="103632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Calibri"/>
              <a:buNone/>
              <a:defRPr b="0" cap="none" sz="44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49077" name="Google Shape;157;g19347faee97_5_47"/>
          <p:cNvSpPr txBox="1">
            <a:spLocks noGrp="1"/>
          </p:cNvSpPr>
          <p:nvPr>
            <p:ph type="subTitle" idx="1"/>
          </p:nvPr>
        </p:nvSpPr>
        <p:spPr>
          <a:xfrm>
            <a:off x="965200" y="1464700"/>
            <a:ext cx="10312500" cy="4675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16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078" name="Google Shape;158;g19347faee97_5_47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079" name="Google Shape;159;g19347faee97_5_47"/>
          <p:cNvSpPr/>
          <p:nvPr/>
        </p:nvSpPr>
        <p:spPr>
          <a:xfrm>
            <a:off x="860100" y="723467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080" name="Google Shape;160;g19347faee97_5_47"/>
          <p:cNvSpPr/>
          <p:nvPr/>
        </p:nvSpPr>
        <p:spPr>
          <a:xfrm>
            <a:off x="11620300" y="3017200"/>
            <a:ext cx="357900" cy="3579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081" name="Google Shape;161;g19347faee97_5_47"/>
          <p:cNvSpPr/>
          <p:nvPr/>
        </p:nvSpPr>
        <p:spPr>
          <a:xfrm>
            <a:off x="11900867" y="3518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082" name="Google Shape;162;g19347faee97_5_47"/>
          <p:cNvSpPr/>
          <p:nvPr/>
        </p:nvSpPr>
        <p:spPr>
          <a:xfrm>
            <a:off x="11978300" y="2596033"/>
            <a:ext cx="48000" cy="480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083" name="Google Shape;163;g19347faee97_5_47"/>
          <p:cNvSpPr/>
          <p:nvPr/>
        </p:nvSpPr>
        <p:spPr>
          <a:xfrm>
            <a:off x="398400" y="6317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9">
  <p:cSld name="Placeholder 29">
    <p:spTree>
      <p:nvGrpSpPr>
        <p:cNvPr id="490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60" name="Google Shape;19;p1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276606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Title and three columns 2">
    <p:bg>
      <p:bgPr>
        <a:solidFill>
          <a:schemeClr val="lt1"/>
        </a:solidFill>
      </p:bgPr>
    </p:bg>
    <p:spTree>
      <p:nvGrpSpPr>
        <p:cNvPr id="55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00" name="Google Shape;165;g19347faee97_5_5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Fredoka One"/>
              <a:buNone/>
              <a:defRPr b="0" cap="none" sz="44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50701" name="Google Shape;166;g19347faee97_5_56"/>
          <p:cNvSpPr txBox="1">
            <a:spLocks noGrp="1"/>
          </p:cNvSpPr>
          <p:nvPr>
            <p:ph type="subTitle" idx="1"/>
          </p:nvPr>
        </p:nvSpPr>
        <p:spPr>
          <a:xfrm>
            <a:off x="699748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02" name="Google Shape;167;g19347faee97_5_56"/>
          <p:cNvSpPr txBox="1">
            <a:spLocks noGrp="1"/>
          </p:cNvSpPr>
          <p:nvPr>
            <p:ph type="subTitle" idx="2"/>
          </p:nvPr>
        </p:nvSpPr>
        <p:spPr>
          <a:xfrm>
            <a:off x="4675021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03" name="Google Shape;168;g19347faee97_5_56"/>
          <p:cNvSpPr txBox="1">
            <a:spLocks noGrp="1"/>
          </p:cNvSpPr>
          <p:nvPr>
            <p:ph type="subTitle" idx="3"/>
          </p:nvPr>
        </p:nvSpPr>
        <p:spPr>
          <a:xfrm>
            <a:off x="92194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04" name="Google Shape;169;g19347faee97_5_56"/>
          <p:cNvSpPr txBox="1">
            <a:spLocks noGrp="1"/>
          </p:cNvSpPr>
          <p:nvPr>
            <p:ph type="subTitle" idx="4"/>
          </p:nvPr>
        </p:nvSpPr>
        <p:spPr>
          <a:xfrm>
            <a:off x="489708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05" name="Google Shape;170;g19347faee97_5_56"/>
          <p:cNvSpPr txBox="1">
            <a:spLocks noGrp="1"/>
          </p:cNvSpPr>
          <p:nvPr>
            <p:ph type="subTitle" idx="5"/>
          </p:nvPr>
        </p:nvSpPr>
        <p:spPr>
          <a:xfrm>
            <a:off x="8650296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706" name="Google Shape;171;g19347faee97_5_56"/>
          <p:cNvSpPr txBox="1">
            <a:spLocks noGrp="1"/>
          </p:cNvSpPr>
          <p:nvPr>
            <p:ph type="subTitle" idx="6"/>
          </p:nvPr>
        </p:nvSpPr>
        <p:spPr>
          <a:xfrm>
            <a:off x="8872379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Title only 5">
    <p:bg>
      <p:bgPr>
        <a:solidFill>
          <a:schemeClr val="accent3"/>
        </a:solidFill>
      </p:bgPr>
    </p:bg>
    <p:spTree>
      <p:nvGrpSpPr>
        <p:cNvPr id="525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173;g19347faee97_5_64"/>
          <p:cNvGrpSpPr/>
          <p:nvPr/>
        </p:nvGrpSpPr>
        <p:grpSpPr>
          <a:xfrm rot="1351459">
            <a:off x="282657" y="-3204068"/>
            <a:ext cx="12754533" cy="12262187"/>
            <a:chOff x="1786775" y="1002200"/>
            <a:chExt cx="3861800" cy="3712875"/>
          </a:xfrm>
        </p:grpSpPr>
        <p:sp>
          <p:nvSpPr>
            <p:cNvPr id="1050620" name="Google Shape;174;g19347faee97_5_64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621" name="Google Shape;175;g19347faee97_5_64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622" name="Google Shape;176;g19347faee97_5_64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623" name="Google Shape;177;g19347faee97_5_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Calibri"/>
              <a:buNone/>
              <a:defRPr b="0" cap="none" sz="44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Font typeface="Arial"/>
              <a:buNone/>
              <a:defRPr sz="1800">
                <a:solidFill>
                  <a:schemeClr val="accent2"/>
                </a:solidFill>
              </a:defRPr>
            </a:lvl9pPr>
          </a:lstStyle>
          <a:p/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deas">
  <p:cSld name="Title and ideas">
    <p:spTree>
      <p:nvGrpSpPr>
        <p:cNvPr id="533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41" name="Google Shape;179;g19347faee97_5_70"/>
          <p:cNvSpPr/>
          <p:nvPr/>
        </p:nvSpPr>
        <p:spPr>
          <a:xfrm rot="277628">
            <a:off x="359151" y="-3391287"/>
            <a:ext cx="14442704" cy="13767677"/>
          </a:xfrm>
          <a:custGeom>
            <a:avLst/>
            <a:ahLst/>
            <a:rect l="l" t="t" r="r" b="b"/>
            <a:pathLst>
              <a:path w="154472" h="148515" extrusionOk="0">
                <a:moveTo>
                  <a:pt x="88939" y="1"/>
                </a:moveTo>
                <a:cubicBezTo>
                  <a:pt x="84075" y="1"/>
                  <a:pt x="78478" y="1648"/>
                  <a:pt x="72069" y="5669"/>
                </a:cubicBezTo>
                <a:cubicBezTo>
                  <a:pt x="61886" y="12053"/>
                  <a:pt x="57236" y="24332"/>
                  <a:pt x="54895" y="35457"/>
                </a:cubicBezTo>
                <a:cubicBezTo>
                  <a:pt x="52919" y="44971"/>
                  <a:pt x="43679" y="50017"/>
                  <a:pt x="36810" y="55214"/>
                </a:cubicBezTo>
                <a:cubicBezTo>
                  <a:pt x="28360" y="61658"/>
                  <a:pt x="20214" y="69135"/>
                  <a:pt x="13587" y="77677"/>
                </a:cubicBezTo>
                <a:cubicBezTo>
                  <a:pt x="0" y="95245"/>
                  <a:pt x="821" y="110929"/>
                  <a:pt x="9454" y="127465"/>
                </a:cubicBezTo>
                <a:cubicBezTo>
                  <a:pt x="12068" y="132419"/>
                  <a:pt x="16505" y="140140"/>
                  <a:pt x="29545" y="145489"/>
                </a:cubicBezTo>
                <a:cubicBezTo>
                  <a:pt x="34502" y="147539"/>
                  <a:pt x="39466" y="148514"/>
                  <a:pt x="44435" y="148514"/>
                </a:cubicBezTo>
                <a:cubicBezTo>
                  <a:pt x="57077" y="148514"/>
                  <a:pt x="69748" y="142200"/>
                  <a:pt x="82403" y="131203"/>
                </a:cubicBezTo>
                <a:cubicBezTo>
                  <a:pt x="86415" y="127708"/>
                  <a:pt x="89850" y="123544"/>
                  <a:pt x="93680" y="119866"/>
                </a:cubicBezTo>
                <a:cubicBezTo>
                  <a:pt x="97662" y="115975"/>
                  <a:pt x="102130" y="112601"/>
                  <a:pt x="106902" y="109774"/>
                </a:cubicBezTo>
                <a:cubicBezTo>
                  <a:pt x="118027" y="103209"/>
                  <a:pt x="131097" y="99561"/>
                  <a:pt x="140672" y="90868"/>
                </a:cubicBezTo>
                <a:cubicBezTo>
                  <a:pt x="145748" y="86279"/>
                  <a:pt x="149608" y="80351"/>
                  <a:pt x="151766" y="73847"/>
                </a:cubicBezTo>
                <a:cubicBezTo>
                  <a:pt x="154471" y="65670"/>
                  <a:pt x="152739" y="56977"/>
                  <a:pt x="146721" y="50898"/>
                </a:cubicBezTo>
                <a:cubicBezTo>
                  <a:pt x="141037" y="45153"/>
                  <a:pt x="136112" y="44849"/>
                  <a:pt x="130337" y="42205"/>
                </a:cubicBezTo>
                <a:cubicBezTo>
                  <a:pt x="123285" y="38892"/>
                  <a:pt x="118392" y="36430"/>
                  <a:pt x="116294" y="28892"/>
                </a:cubicBezTo>
                <a:cubicBezTo>
                  <a:pt x="113682" y="19384"/>
                  <a:pt x="105622" y="1"/>
                  <a:pt x="88939" y="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642" name="Google Shape;180;g19347faee97_5_70"/>
          <p:cNvSpPr txBox="1">
            <a:spLocks noGrp="1"/>
          </p:cNvSpPr>
          <p:nvPr>
            <p:ph type="title"/>
          </p:nvPr>
        </p:nvSpPr>
        <p:spPr>
          <a:xfrm>
            <a:off x="914400" y="717767"/>
            <a:ext cx="51816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Calibri"/>
              <a:buNone/>
              <a:defRPr b="0" cap="none" sz="44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sz="1800">
                <a:solidFill>
                  <a:schemeClr val="accent3"/>
                </a:solidFill>
              </a:defRPr>
            </a:lvl9pPr>
          </a:lstStyle>
          <a:p/>
        </p:txBody>
      </p:sp>
      <p:sp>
        <p:nvSpPr>
          <p:cNvPr id="1050643" name="Google Shape;181;g19347faee97_5_70"/>
          <p:cNvSpPr txBox="1">
            <a:spLocks noGrp="1"/>
          </p:cNvSpPr>
          <p:nvPr>
            <p:ph type="subTitle" idx="1"/>
          </p:nvPr>
        </p:nvSpPr>
        <p:spPr>
          <a:xfrm>
            <a:off x="6660300" y="4016327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4" name="Google Shape;182;g19347faee97_5_70"/>
          <p:cNvSpPr txBox="1">
            <a:spLocks noGrp="1"/>
          </p:cNvSpPr>
          <p:nvPr>
            <p:ph type="subTitle" idx="2"/>
          </p:nvPr>
        </p:nvSpPr>
        <p:spPr>
          <a:xfrm>
            <a:off x="6660300" y="3562860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1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5" name="Google Shape;183;g19347faee97_5_70"/>
          <p:cNvSpPr txBox="1">
            <a:spLocks noGrp="1"/>
          </p:cNvSpPr>
          <p:nvPr>
            <p:ph type="subTitle" idx="3"/>
          </p:nvPr>
        </p:nvSpPr>
        <p:spPr>
          <a:xfrm>
            <a:off x="6660300" y="5395515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6" name="Google Shape;184;g19347faee97_5_70"/>
          <p:cNvSpPr txBox="1">
            <a:spLocks noGrp="1"/>
          </p:cNvSpPr>
          <p:nvPr>
            <p:ph type="subTitle" idx="4"/>
          </p:nvPr>
        </p:nvSpPr>
        <p:spPr>
          <a:xfrm>
            <a:off x="6660300" y="4942048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1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7" name="Google Shape;185;g19347faee97_5_70"/>
          <p:cNvSpPr txBox="1">
            <a:spLocks noGrp="1"/>
          </p:cNvSpPr>
          <p:nvPr>
            <p:ph type="subTitle" idx="5"/>
          </p:nvPr>
        </p:nvSpPr>
        <p:spPr>
          <a:xfrm>
            <a:off x="6660300" y="2637153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8" name="Google Shape;186;g19347faee97_5_70"/>
          <p:cNvSpPr txBox="1">
            <a:spLocks noGrp="1"/>
          </p:cNvSpPr>
          <p:nvPr>
            <p:ph type="subTitle" idx="6"/>
          </p:nvPr>
        </p:nvSpPr>
        <p:spPr>
          <a:xfrm>
            <a:off x="6660300" y="2183688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1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49" name="Google Shape;187;g19347faee97_5_70"/>
          <p:cNvSpPr txBox="1">
            <a:spLocks noGrp="1"/>
          </p:cNvSpPr>
          <p:nvPr>
            <p:ph type="subTitle" idx="7"/>
          </p:nvPr>
        </p:nvSpPr>
        <p:spPr>
          <a:xfrm>
            <a:off x="6658433" y="1257984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50650" name="Google Shape;188;g19347faee97_5_70"/>
          <p:cNvSpPr txBox="1">
            <a:spLocks noGrp="1"/>
          </p:cNvSpPr>
          <p:nvPr>
            <p:ph type="subTitle" idx="8"/>
          </p:nvPr>
        </p:nvSpPr>
        <p:spPr>
          <a:xfrm>
            <a:off x="6658433" y="804517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1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accent3"/>
        </a:solidFill>
      </p:bgPr>
    </p:bg>
    <p:spTree>
      <p:nvGrpSpPr>
        <p:cNvPr id="494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63" name="Google Shape;193;g191abe3b490_12_4382"/>
          <p:cNvSpPr txBox="1">
            <a:spLocks noGrp="1"/>
          </p:cNvSpPr>
          <p:nvPr>
            <p:ph type="ctrTitle"/>
          </p:nvPr>
        </p:nvSpPr>
        <p:spPr>
          <a:xfrm>
            <a:off x="914400" y="713284"/>
            <a:ext cx="5880300" cy="22752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7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/>
        </p:txBody>
      </p:sp>
      <p:sp>
        <p:nvSpPr>
          <p:cNvPr id="1050264" name="Google Shape;194;g191abe3b490_12_4382"/>
          <p:cNvSpPr txBox="1">
            <a:spLocks noGrp="1"/>
          </p:cNvSpPr>
          <p:nvPr>
            <p:ph type="subTitle" idx="1"/>
          </p:nvPr>
        </p:nvSpPr>
        <p:spPr>
          <a:xfrm>
            <a:off x="914400" y="3037793"/>
            <a:ext cx="5880300" cy="5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grpSp>
        <p:nvGrpSpPr>
          <p:cNvPr id="495" name="Google Shape;195;g191abe3b490_12_4382"/>
          <p:cNvGrpSpPr/>
          <p:nvPr/>
        </p:nvGrpSpPr>
        <p:grpSpPr>
          <a:xfrm rot="12725">
            <a:off x="4191361" y="-965405"/>
            <a:ext cx="11505626" cy="10255353"/>
            <a:chOff x="1543903" y="1051131"/>
            <a:chExt cx="4579322" cy="4218197"/>
          </a:xfrm>
        </p:grpSpPr>
        <p:sp>
          <p:nvSpPr>
            <p:cNvPr id="1050265" name="Google Shape;196;g191abe3b490_12_4382"/>
            <p:cNvSpPr/>
            <p:nvPr/>
          </p:nvSpPr>
          <p:spPr>
            <a:xfrm>
              <a:off x="1543903" y="1051131"/>
              <a:ext cx="4579322" cy="4218197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66" name="Google Shape;197;g191abe3b490_12_4382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67" name="Google Shape;198;g191abe3b490_12_4382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515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89" name="Google Shape;200;g191abe3b490_12_4389"/>
          <p:cNvSpPr txBox="1">
            <a:spLocks noGrp="1"/>
          </p:cNvSpPr>
          <p:nvPr>
            <p:ph type="body" idx="1"/>
          </p:nvPr>
        </p:nvSpPr>
        <p:spPr>
          <a:xfrm>
            <a:off x="1603833" y="1367633"/>
            <a:ext cx="8984400" cy="1812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indent="-228600" lvl="0" marL="457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</a:lstStyle>
          <a:p/>
        </p:txBody>
      </p:sp>
      <p:sp>
        <p:nvSpPr>
          <p:cNvPr id="1050590" name="Google Shape;201;g191abe3b490_12_4389"/>
          <p:cNvSpPr txBox="1">
            <a:spLocks noGrp="1"/>
          </p:cNvSpPr>
          <p:nvPr>
            <p:ph type="title"/>
          </p:nvPr>
        </p:nvSpPr>
        <p:spPr>
          <a:xfrm>
            <a:off x="3814500" y="3314693"/>
            <a:ext cx="4562700" cy="461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800">
                <a:latin typeface="Raleway"/>
                <a:ea typeface="Raleway"/>
                <a:cs typeface="Raleway"/>
                <a:sym typeface="Raleway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591" name="Google Shape;202;g191abe3b490_12_4389"/>
          <p:cNvSpPr/>
          <p:nvPr/>
        </p:nvSpPr>
        <p:spPr>
          <a:xfrm rot="4368138">
            <a:off x="11162658" y="4590429"/>
            <a:ext cx="465722" cy="465722"/>
          </a:xfrm>
          <a:prstGeom prst="ellipse"/>
          <a:solidFill>
            <a:schemeClr val="accent5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92" name="Google Shape;203;g191abe3b490_12_4389"/>
          <p:cNvSpPr/>
          <p:nvPr/>
        </p:nvSpPr>
        <p:spPr>
          <a:xfrm rot="4355748">
            <a:off x="10889162" y="4432039"/>
            <a:ext cx="163485" cy="163485"/>
          </a:xfrm>
          <a:prstGeom prst="ellipse"/>
          <a:solidFill>
            <a:schemeClr val="accent5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93" name="Google Shape;204;g191abe3b490_12_4389"/>
          <p:cNvSpPr/>
          <p:nvPr/>
        </p:nvSpPr>
        <p:spPr>
          <a:xfrm>
            <a:off x="735400" y="540333"/>
            <a:ext cx="765300" cy="765300"/>
          </a:xfrm>
          <a:prstGeom prst="ellipse"/>
          <a:solidFill>
            <a:schemeClr val="accent5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94" name="Google Shape;205;g191abe3b490_12_4389"/>
          <p:cNvSpPr/>
          <p:nvPr/>
        </p:nvSpPr>
        <p:spPr>
          <a:xfrm>
            <a:off x="607400" y="1305533"/>
            <a:ext cx="179100" cy="178800"/>
          </a:xfrm>
          <a:prstGeom prst="ellipse"/>
          <a:solidFill>
            <a:schemeClr val="accent5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95" name="Google Shape;206;g191abe3b490_12_4389"/>
          <p:cNvSpPr/>
          <p:nvPr/>
        </p:nvSpPr>
        <p:spPr>
          <a:xfrm>
            <a:off x="11461567" y="420133"/>
            <a:ext cx="300000" cy="299100"/>
          </a:xfrm>
          <a:prstGeom prst="ellipse"/>
          <a:solidFill>
            <a:schemeClr val="accent5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s and descriptions">
  <p:cSld name="CUSTOM_4">
    <p:bg>
      <p:bgPr>
        <a:solidFill>
          <a:schemeClr val="accent3"/>
        </a:solidFill>
      </p:bgPr>
    </p:bg>
    <p:spTree>
      <p:nvGrpSpPr>
        <p:cNvPr id="50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91" name="Google Shape;208;g191abe3b490_12_439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>
                <a:solidFill>
                  <a:srgbClr val="FFFFFF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292" name="Google Shape;209;g191abe3b490_12_4397"/>
          <p:cNvSpPr txBox="1">
            <a:spLocks noGrp="1"/>
          </p:cNvSpPr>
          <p:nvPr>
            <p:ph type="subTitle" idx="1"/>
          </p:nvPr>
        </p:nvSpPr>
        <p:spPr>
          <a:xfrm>
            <a:off x="8750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3" name="Google Shape;210;g191abe3b490_12_4397"/>
          <p:cNvSpPr txBox="1">
            <a:spLocks noGrp="1"/>
          </p:cNvSpPr>
          <p:nvPr>
            <p:ph type="subTitle" idx="2"/>
          </p:nvPr>
        </p:nvSpPr>
        <p:spPr>
          <a:xfrm>
            <a:off x="8750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4" name="Google Shape;211;g191abe3b490_12_4397"/>
          <p:cNvSpPr txBox="1">
            <a:spLocks noGrp="1"/>
          </p:cNvSpPr>
          <p:nvPr>
            <p:ph type="subTitle" idx="3"/>
          </p:nvPr>
        </p:nvSpPr>
        <p:spPr>
          <a:xfrm>
            <a:off x="44818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5" name="Google Shape;212;g191abe3b490_12_4397"/>
          <p:cNvSpPr txBox="1">
            <a:spLocks noGrp="1"/>
          </p:cNvSpPr>
          <p:nvPr>
            <p:ph type="subTitle" idx="4"/>
          </p:nvPr>
        </p:nvSpPr>
        <p:spPr>
          <a:xfrm>
            <a:off x="44818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6" name="Google Shape;213;g191abe3b490_12_4397"/>
          <p:cNvSpPr txBox="1">
            <a:spLocks noGrp="1"/>
          </p:cNvSpPr>
          <p:nvPr>
            <p:ph type="subTitle" idx="5"/>
          </p:nvPr>
        </p:nvSpPr>
        <p:spPr>
          <a:xfrm>
            <a:off x="80886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7" name="Google Shape;214;g191abe3b490_12_4397"/>
          <p:cNvSpPr txBox="1">
            <a:spLocks noGrp="1"/>
          </p:cNvSpPr>
          <p:nvPr>
            <p:ph type="subTitle" idx="6"/>
          </p:nvPr>
        </p:nvSpPr>
        <p:spPr>
          <a:xfrm>
            <a:off x="80886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8" name="Google Shape;215;g191abe3b490_12_4397"/>
          <p:cNvSpPr txBox="1">
            <a:spLocks noGrp="1"/>
          </p:cNvSpPr>
          <p:nvPr>
            <p:ph type="subTitle" idx="7"/>
          </p:nvPr>
        </p:nvSpPr>
        <p:spPr>
          <a:xfrm>
            <a:off x="8750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9" name="Google Shape;216;g191abe3b490_12_4397"/>
          <p:cNvSpPr txBox="1">
            <a:spLocks noGrp="1"/>
          </p:cNvSpPr>
          <p:nvPr>
            <p:ph type="subTitle" idx="8"/>
          </p:nvPr>
        </p:nvSpPr>
        <p:spPr>
          <a:xfrm>
            <a:off x="8750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300" name="Google Shape;217;g191abe3b490_12_4397"/>
          <p:cNvSpPr txBox="1">
            <a:spLocks noGrp="1"/>
          </p:cNvSpPr>
          <p:nvPr>
            <p:ph type="subTitle" idx="9"/>
          </p:nvPr>
        </p:nvSpPr>
        <p:spPr>
          <a:xfrm>
            <a:off x="44818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301" name="Google Shape;218;g191abe3b490_12_4397"/>
          <p:cNvSpPr txBox="1">
            <a:spLocks noGrp="1"/>
          </p:cNvSpPr>
          <p:nvPr>
            <p:ph type="subTitle" idx="13"/>
          </p:nvPr>
        </p:nvSpPr>
        <p:spPr>
          <a:xfrm>
            <a:off x="44818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302" name="Google Shape;219;g191abe3b490_12_4397"/>
          <p:cNvSpPr txBox="1">
            <a:spLocks noGrp="1"/>
          </p:cNvSpPr>
          <p:nvPr>
            <p:ph type="subTitle" idx="14"/>
          </p:nvPr>
        </p:nvSpPr>
        <p:spPr>
          <a:xfrm>
            <a:off x="80886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303" name="Google Shape;220;g191abe3b490_12_4397"/>
          <p:cNvSpPr txBox="1">
            <a:spLocks noGrp="1"/>
          </p:cNvSpPr>
          <p:nvPr>
            <p:ph type="subTitle" idx="15"/>
          </p:nvPr>
        </p:nvSpPr>
        <p:spPr>
          <a:xfrm>
            <a:off x="80886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304" name="Google Shape;221;g191abe3b490_12_4397"/>
          <p:cNvSpPr txBox="1">
            <a:spLocks noGrp="1"/>
          </p:cNvSpPr>
          <p:nvPr>
            <p:ph type="title" idx="16"/>
          </p:nvPr>
        </p:nvSpPr>
        <p:spPr>
          <a:xfrm>
            <a:off x="2043067" y="1657033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  <p:sp>
        <p:nvSpPr>
          <p:cNvPr id="1050305" name="Google Shape;222;g191abe3b490_12_4397"/>
          <p:cNvSpPr txBox="1">
            <a:spLocks noGrp="1"/>
          </p:cNvSpPr>
          <p:nvPr>
            <p:ph type="title" idx="17"/>
          </p:nvPr>
        </p:nvSpPr>
        <p:spPr>
          <a:xfrm>
            <a:off x="2043067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  <p:sp>
        <p:nvSpPr>
          <p:cNvPr id="1050306" name="Google Shape;223;g191abe3b490_12_4397"/>
          <p:cNvSpPr txBox="1">
            <a:spLocks noGrp="1"/>
          </p:cNvSpPr>
          <p:nvPr>
            <p:ph type="title" idx="18"/>
          </p:nvPr>
        </p:nvSpPr>
        <p:spPr>
          <a:xfrm>
            <a:off x="5649933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  <p:sp>
        <p:nvSpPr>
          <p:cNvPr id="1050307" name="Google Shape;224;g191abe3b490_12_4397"/>
          <p:cNvSpPr txBox="1">
            <a:spLocks noGrp="1"/>
          </p:cNvSpPr>
          <p:nvPr>
            <p:ph type="title" idx="19"/>
          </p:nvPr>
        </p:nvSpPr>
        <p:spPr>
          <a:xfrm>
            <a:off x="5650000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  <p:sp>
        <p:nvSpPr>
          <p:cNvPr id="1050308" name="Google Shape;225;g191abe3b490_12_4397"/>
          <p:cNvSpPr txBox="1">
            <a:spLocks noGrp="1"/>
          </p:cNvSpPr>
          <p:nvPr>
            <p:ph type="title" idx="20"/>
          </p:nvPr>
        </p:nvSpPr>
        <p:spPr>
          <a:xfrm>
            <a:off x="9256600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  <p:sp>
        <p:nvSpPr>
          <p:cNvPr id="1050309" name="Google Shape;226;g191abe3b490_12_4397"/>
          <p:cNvSpPr txBox="1">
            <a:spLocks noGrp="1"/>
          </p:cNvSpPr>
          <p:nvPr>
            <p:ph type="title" idx="21"/>
          </p:nvPr>
        </p:nvSpPr>
        <p:spPr>
          <a:xfrm>
            <a:off x="9256400" y="4112567"/>
            <a:ext cx="8925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/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eft text">
  <p:cSld name="CUSTOM_2">
    <p:bg>
      <p:bgPr>
        <a:solidFill>
          <a:schemeClr val="accent3"/>
        </a:solidFill>
      </p:bgPr>
    </p:bg>
    <p:spTree>
      <p:nvGrpSpPr>
        <p:cNvPr id="512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3" name="Google Shape;228;g191abe3b490_12_4417"/>
          <p:cNvGrpSpPr/>
          <p:nvPr/>
        </p:nvGrpSpPr>
        <p:grpSpPr>
          <a:xfrm rot="-2808558" flipH="1">
            <a:off x="-1026304" y="-2548388"/>
            <a:ext cx="12774326" cy="12406995"/>
            <a:chOff x="1786775" y="1002200"/>
            <a:chExt cx="3861800" cy="3712875"/>
          </a:xfrm>
        </p:grpSpPr>
        <p:sp>
          <p:nvSpPr>
            <p:cNvPr id="1050579" name="Google Shape;229;g191abe3b490_12_4417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80" name="Google Shape;230;g191abe3b490_12_4417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81" name="Google Shape;231;g191abe3b490_12_4417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582" name="Google Shape;232;g191abe3b490_12_44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9pPr>
          </a:lstStyle>
          <a:p/>
        </p:txBody>
      </p:sp>
      <p:sp>
        <p:nvSpPr>
          <p:cNvPr id="1050583" name="Google Shape;233;g191abe3b490_12_4417"/>
          <p:cNvSpPr txBox="1">
            <a:spLocks noGrp="1"/>
          </p:cNvSpPr>
          <p:nvPr>
            <p:ph type="subTitle" idx="1"/>
          </p:nvPr>
        </p:nvSpPr>
        <p:spPr>
          <a:xfrm>
            <a:off x="1254633" y="5233433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/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84" name="Google Shape;234;g191abe3b490_12_4417"/>
          <p:cNvSpPr txBox="1">
            <a:spLocks noGrp="1"/>
          </p:cNvSpPr>
          <p:nvPr>
            <p:ph type="subTitle" idx="2"/>
          </p:nvPr>
        </p:nvSpPr>
        <p:spPr>
          <a:xfrm>
            <a:off x="1254633" y="3689133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/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85" name="Google Shape;235;g191abe3b490_12_4417"/>
          <p:cNvSpPr txBox="1">
            <a:spLocks noGrp="1"/>
          </p:cNvSpPr>
          <p:nvPr>
            <p:ph type="subTitle" idx="3"/>
          </p:nvPr>
        </p:nvSpPr>
        <p:spPr>
          <a:xfrm>
            <a:off x="1254633" y="2144833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/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86" name="Google Shape;236;g191abe3b490_12_4417"/>
          <p:cNvSpPr txBox="1">
            <a:spLocks noGrp="1"/>
          </p:cNvSpPr>
          <p:nvPr>
            <p:ph type="subTitle" idx="4"/>
          </p:nvPr>
        </p:nvSpPr>
        <p:spPr>
          <a:xfrm>
            <a:off x="1254633" y="4676867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A5B7C6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87" name="Google Shape;237;g191abe3b490_12_4417"/>
          <p:cNvSpPr txBox="1">
            <a:spLocks noGrp="1"/>
          </p:cNvSpPr>
          <p:nvPr>
            <p:ph type="subTitle" idx="5"/>
          </p:nvPr>
        </p:nvSpPr>
        <p:spPr>
          <a:xfrm>
            <a:off x="1254633" y="3118333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445D7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88" name="Google Shape;238;g191abe3b490_12_4417"/>
          <p:cNvSpPr txBox="1">
            <a:spLocks noGrp="1"/>
          </p:cNvSpPr>
          <p:nvPr>
            <p:ph type="subTitle" idx="6"/>
          </p:nvPr>
        </p:nvSpPr>
        <p:spPr>
          <a:xfrm>
            <a:off x="1254633" y="1559800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 sz="3700">
                <a:solidFill>
                  <a:schemeClr val="accent3"/>
                </a:solidFill>
              </a:defRPr>
            </a:lvl9pPr>
          </a:lstStyle>
          <a:p/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3">
  <p:cSld name="CUSTOM_18">
    <p:spTree>
      <p:nvGrpSpPr>
        <p:cNvPr id="509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62" name="Google Shape;240;g191abe3b490_12_4429"/>
          <p:cNvSpPr/>
          <p:nvPr/>
        </p:nvSpPr>
        <p:spPr>
          <a:xfrm rot="277628">
            <a:off x="5316910" y="-3412888"/>
            <a:ext cx="14442704" cy="13949073"/>
          </a:xfrm>
          <a:custGeom>
            <a:avLst/>
            <a:ahLst/>
            <a:rect l="l" t="t" r="r" b="b"/>
            <a:pathLst>
              <a:path w="154472" h="148515" extrusionOk="0">
                <a:moveTo>
                  <a:pt x="88939" y="1"/>
                </a:moveTo>
                <a:cubicBezTo>
                  <a:pt x="84075" y="1"/>
                  <a:pt x="78478" y="1648"/>
                  <a:pt x="72069" y="5669"/>
                </a:cubicBezTo>
                <a:cubicBezTo>
                  <a:pt x="61886" y="12053"/>
                  <a:pt x="57236" y="24332"/>
                  <a:pt x="54895" y="35457"/>
                </a:cubicBezTo>
                <a:cubicBezTo>
                  <a:pt x="52919" y="44971"/>
                  <a:pt x="43679" y="50017"/>
                  <a:pt x="36810" y="55214"/>
                </a:cubicBezTo>
                <a:cubicBezTo>
                  <a:pt x="28360" y="61658"/>
                  <a:pt x="20214" y="69135"/>
                  <a:pt x="13587" y="77677"/>
                </a:cubicBezTo>
                <a:cubicBezTo>
                  <a:pt x="0" y="95245"/>
                  <a:pt x="821" y="110929"/>
                  <a:pt x="9454" y="127465"/>
                </a:cubicBezTo>
                <a:cubicBezTo>
                  <a:pt x="12068" y="132419"/>
                  <a:pt x="16505" y="140140"/>
                  <a:pt x="29545" y="145489"/>
                </a:cubicBezTo>
                <a:cubicBezTo>
                  <a:pt x="34502" y="147539"/>
                  <a:pt x="39466" y="148514"/>
                  <a:pt x="44435" y="148514"/>
                </a:cubicBezTo>
                <a:cubicBezTo>
                  <a:pt x="57077" y="148514"/>
                  <a:pt x="69748" y="142200"/>
                  <a:pt x="82403" y="131203"/>
                </a:cubicBezTo>
                <a:cubicBezTo>
                  <a:pt x="86415" y="127708"/>
                  <a:pt x="89850" y="123544"/>
                  <a:pt x="93680" y="119866"/>
                </a:cubicBezTo>
                <a:cubicBezTo>
                  <a:pt x="97662" y="115975"/>
                  <a:pt x="102130" y="112601"/>
                  <a:pt x="106902" y="109774"/>
                </a:cubicBezTo>
                <a:cubicBezTo>
                  <a:pt x="118027" y="103209"/>
                  <a:pt x="131097" y="99561"/>
                  <a:pt x="140672" y="90868"/>
                </a:cubicBezTo>
                <a:cubicBezTo>
                  <a:pt x="145748" y="86279"/>
                  <a:pt x="149608" y="80351"/>
                  <a:pt x="151766" y="73847"/>
                </a:cubicBezTo>
                <a:cubicBezTo>
                  <a:pt x="154471" y="65670"/>
                  <a:pt x="152739" y="56977"/>
                  <a:pt x="146721" y="50898"/>
                </a:cubicBezTo>
                <a:cubicBezTo>
                  <a:pt x="141037" y="45153"/>
                  <a:pt x="136112" y="44849"/>
                  <a:pt x="130337" y="42205"/>
                </a:cubicBezTo>
                <a:cubicBezTo>
                  <a:pt x="123285" y="38892"/>
                  <a:pt x="118392" y="36430"/>
                  <a:pt x="116294" y="28892"/>
                </a:cubicBezTo>
                <a:cubicBezTo>
                  <a:pt x="113682" y="19384"/>
                  <a:pt x="105622" y="1"/>
                  <a:pt x="88939" y="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63" name="Google Shape;241;g191abe3b490_12_4429"/>
          <p:cNvSpPr txBox="1">
            <a:spLocks noGrp="1"/>
          </p:cNvSpPr>
          <p:nvPr>
            <p:ph type="title"/>
          </p:nvPr>
        </p:nvSpPr>
        <p:spPr>
          <a:xfrm>
            <a:off x="973263" y="1898000"/>
            <a:ext cx="4090500" cy="1949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9pPr>
          </a:lstStyle>
          <a:p/>
        </p:txBody>
      </p:sp>
      <p:sp>
        <p:nvSpPr>
          <p:cNvPr id="1050564" name="Google Shape;242;g191abe3b490_12_4429"/>
          <p:cNvSpPr txBox="1">
            <a:spLocks noGrp="1"/>
          </p:cNvSpPr>
          <p:nvPr>
            <p:ph type="subTitle" idx="1"/>
          </p:nvPr>
        </p:nvSpPr>
        <p:spPr>
          <a:xfrm>
            <a:off x="965200" y="3847600"/>
            <a:ext cx="4090500" cy="11124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1900">
                <a:solidFill>
                  <a:srgbClr val="000000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700"/>
              <a:buNone/>
              <a:defRPr sz="3700">
                <a:solidFill>
                  <a:srgbClr val="000000"/>
                </a:solidFill>
              </a:defRPr>
            </a:lvl9pPr>
          </a:lstStyle>
          <a:p/>
        </p:txBody>
      </p:sp>
      <p:sp>
        <p:nvSpPr>
          <p:cNvPr id="1050565" name="Google Shape;243;g191abe3b490_12_4429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66" name="Google Shape;244;g191abe3b490_12_4429"/>
          <p:cNvSpPr/>
          <p:nvPr/>
        </p:nvSpPr>
        <p:spPr>
          <a:xfrm>
            <a:off x="398400" y="1074033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9">
    <p:bg>
      <p:bgPr>
        <a:solidFill>
          <a:schemeClr val="lt1"/>
        </a:solidFill>
      </p:bgPr>
    </p:bg>
    <p:spTree>
      <p:nvGrpSpPr>
        <p:cNvPr id="496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68" name="Google Shape;246;g191abe3b490_12_44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269" name="Google Shape;247;g191abe3b490_12_4435"/>
          <p:cNvSpPr txBox="1">
            <a:spLocks noGrp="1"/>
          </p:cNvSpPr>
          <p:nvPr>
            <p:ph type="subTitle" idx="1"/>
          </p:nvPr>
        </p:nvSpPr>
        <p:spPr>
          <a:xfrm>
            <a:off x="699748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70" name="Google Shape;248;g191abe3b490_12_4435"/>
          <p:cNvSpPr txBox="1">
            <a:spLocks noGrp="1"/>
          </p:cNvSpPr>
          <p:nvPr>
            <p:ph type="subTitle" idx="2"/>
          </p:nvPr>
        </p:nvSpPr>
        <p:spPr>
          <a:xfrm>
            <a:off x="4675021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71" name="Google Shape;249;g191abe3b490_12_4435"/>
          <p:cNvSpPr txBox="1">
            <a:spLocks noGrp="1"/>
          </p:cNvSpPr>
          <p:nvPr>
            <p:ph type="subTitle" idx="3"/>
          </p:nvPr>
        </p:nvSpPr>
        <p:spPr>
          <a:xfrm>
            <a:off x="92194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72" name="Google Shape;250;g191abe3b490_12_4435"/>
          <p:cNvSpPr txBox="1">
            <a:spLocks noGrp="1"/>
          </p:cNvSpPr>
          <p:nvPr>
            <p:ph type="subTitle" idx="4"/>
          </p:nvPr>
        </p:nvSpPr>
        <p:spPr>
          <a:xfrm>
            <a:off x="489708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73" name="Google Shape;251;g191abe3b490_12_4435"/>
          <p:cNvSpPr txBox="1">
            <a:spLocks noGrp="1"/>
          </p:cNvSpPr>
          <p:nvPr>
            <p:ph type="subTitle" idx="5"/>
          </p:nvPr>
        </p:nvSpPr>
        <p:spPr>
          <a:xfrm>
            <a:off x="8650296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74" name="Google Shape;252;g191abe3b490_12_4435"/>
          <p:cNvSpPr txBox="1">
            <a:spLocks noGrp="1"/>
          </p:cNvSpPr>
          <p:nvPr>
            <p:ph type="subTitle" idx="6"/>
          </p:nvPr>
        </p:nvSpPr>
        <p:spPr>
          <a:xfrm>
            <a:off x="8872379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 2">
  <p:cSld name="CUSTOM_19">
    <p:spTree>
      <p:nvGrpSpPr>
        <p:cNvPr id="510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67" name="Google Shape;254;g191abe3b490_12_4443"/>
          <p:cNvSpPr txBox="1">
            <a:spLocks noGrp="1"/>
          </p:cNvSpPr>
          <p:nvPr>
            <p:ph type="title"/>
          </p:nvPr>
        </p:nvSpPr>
        <p:spPr>
          <a:xfrm>
            <a:off x="5437833" y="1559133"/>
            <a:ext cx="6179700" cy="2999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9600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568" name="Google Shape;255;g191abe3b490_12_4443"/>
          <p:cNvSpPr txBox="1">
            <a:spLocks noGrp="1"/>
          </p:cNvSpPr>
          <p:nvPr>
            <p:ph type="subTitle" idx="1"/>
          </p:nvPr>
        </p:nvSpPr>
        <p:spPr>
          <a:xfrm>
            <a:off x="5437833" y="4558733"/>
            <a:ext cx="42717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3">
  <p:cSld name="Placeholder 03">
    <p:spTree>
      <p:nvGrpSpPr>
        <p:cNvPr id="543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2" name="Google Shape;21;p20"/>
          <p:cNvSpPr>
            <a:spLocks noGrp="1"/>
          </p:cNvSpPr>
          <p:nvPr>
            <p:ph type="pic" idx="2"/>
          </p:nvPr>
        </p:nvSpPr>
        <p:spPr>
          <a:xfrm>
            <a:off x="6709410" y="0"/>
            <a:ext cx="548259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2">
  <p:cSld name="CUSTOM_16">
    <p:spTree>
      <p:nvGrpSpPr>
        <p:cNvPr id="508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54" name="Google Shape;257;g191abe3b490_12_4446"/>
          <p:cNvSpPr txBox="1">
            <a:spLocks noGrp="1"/>
          </p:cNvSpPr>
          <p:nvPr>
            <p:ph type="title"/>
          </p:nvPr>
        </p:nvSpPr>
        <p:spPr>
          <a:xfrm>
            <a:off x="914400" y="593367"/>
            <a:ext cx="103632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>
                <a:solidFill>
                  <a:schemeClr val="accent3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555" name="Google Shape;258;g191abe3b490_12_4446"/>
          <p:cNvSpPr txBox="1">
            <a:spLocks noGrp="1"/>
          </p:cNvSpPr>
          <p:nvPr>
            <p:ph type="subTitle" idx="1"/>
          </p:nvPr>
        </p:nvSpPr>
        <p:spPr>
          <a:xfrm>
            <a:off x="965200" y="1464700"/>
            <a:ext cx="10312500" cy="4675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1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37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●"/>
              <a:defRPr sz="37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○"/>
              <a:defRPr sz="37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Char char="■"/>
              <a:defRPr sz="3700"/>
            </a:lvl9pPr>
          </a:lstStyle>
          <a:p/>
        </p:txBody>
      </p:sp>
      <p:sp>
        <p:nvSpPr>
          <p:cNvPr id="1050556" name="Google Shape;259;g191abe3b490_12_4446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57" name="Google Shape;260;g191abe3b490_12_4446"/>
          <p:cNvSpPr/>
          <p:nvPr/>
        </p:nvSpPr>
        <p:spPr>
          <a:xfrm>
            <a:off x="860100" y="723467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58" name="Google Shape;261;g191abe3b490_12_4446"/>
          <p:cNvSpPr/>
          <p:nvPr/>
        </p:nvSpPr>
        <p:spPr>
          <a:xfrm>
            <a:off x="11620300" y="3017200"/>
            <a:ext cx="357900" cy="3579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59" name="Google Shape;262;g191abe3b490_12_4446"/>
          <p:cNvSpPr/>
          <p:nvPr/>
        </p:nvSpPr>
        <p:spPr>
          <a:xfrm>
            <a:off x="11900867" y="3518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60" name="Google Shape;263;g191abe3b490_12_4446"/>
          <p:cNvSpPr/>
          <p:nvPr/>
        </p:nvSpPr>
        <p:spPr>
          <a:xfrm>
            <a:off x="11978300" y="2596033"/>
            <a:ext cx="48000" cy="480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61" name="Google Shape;264;g191abe3b490_12_4446"/>
          <p:cNvSpPr/>
          <p:nvPr/>
        </p:nvSpPr>
        <p:spPr>
          <a:xfrm>
            <a:off x="398400" y="6317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216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" name="Google Shape;266;g191abe3b490_12_4455"/>
          <p:cNvGrpSpPr/>
          <p:nvPr/>
        </p:nvGrpSpPr>
        <p:grpSpPr>
          <a:xfrm rot="2506023">
            <a:off x="1699517" y="-937675"/>
            <a:ext cx="9083674" cy="8733375"/>
            <a:chOff x="1786775" y="1002200"/>
            <a:chExt cx="3861800" cy="3712875"/>
          </a:xfrm>
        </p:grpSpPr>
        <p:sp>
          <p:nvSpPr>
            <p:cNvPr id="1048813" name="Google Shape;267;g191abe3b490_12_4455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14" name="Google Shape;268;g191abe3b490_12_4455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15" name="Google Shape;269;g191abe3b490_12_4455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8816" name="Google Shape;270;g191abe3b490_12_4455"/>
          <p:cNvSpPr txBox="1">
            <a:spLocks noGrp="1"/>
          </p:cNvSpPr>
          <p:nvPr>
            <p:ph type="title" hasCustomPrompt="1"/>
          </p:nvPr>
        </p:nvSpPr>
        <p:spPr>
          <a:xfrm>
            <a:off x="1769400" y="2130784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6700">
                <a:solidFill>
                  <a:schemeClr val="lt1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048817" name="Google Shape;271;g191abe3b490_12_4455"/>
          <p:cNvSpPr txBox="1">
            <a:spLocks noGrp="1"/>
          </p:cNvSpPr>
          <p:nvPr>
            <p:ph type="subTitle" idx="1"/>
          </p:nvPr>
        </p:nvSpPr>
        <p:spPr>
          <a:xfrm>
            <a:off x="1769400" y="3927284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CUSTOM_11">
    <p:bg>
      <p:bgPr>
        <a:solidFill>
          <a:schemeClr val="accent3"/>
        </a:solidFill>
      </p:bgPr>
    </p:bg>
    <p:spTree>
      <p:nvGrpSpPr>
        <p:cNvPr id="497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8" name="Google Shape;273;g191abe3b490_12_4462"/>
          <p:cNvGrpSpPr/>
          <p:nvPr/>
        </p:nvGrpSpPr>
        <p:grpSpPr>
          <a:xfrm rot="1351459">
            <a:off x="282657" y="-3204068"/>
            <a:ext cx="12754533" cy="12262187"/>
            <a:chOff x="1786775" y="1002200"/>
            <a:chExt cx="3861800" cy="3712875"/>
          </a:xfrm>
        </p:grpSpPr>
        <p:sp>
          <p:nvSpPr>
            <p:cNvPr id="1050275" name="Google Shape;274;g191abe3b490_12_4462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76" name="Google Shape;275;g191abe3b490_12_4462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77" name="Google Shape;276;g191abe3b490_12_4462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278" name="Google Shape;277;g191abe3b490_12_4462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3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700"/>
              <a:buNone/>
              <a:defRPr>
                <a:solidFill>
                  <a:schemeClr val="accent2"/>
                </a:solidFill>
              </a:defRPr>
            </a:lvl9pPr>
          </a:lstStyle>
          <a:p/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deas">
  <p:cSld name="Title and ideas">
    <p:spTree>
      <p:nvGrpSpPr>
        <p:cNvPr id="51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569" name="Google Shape;279;g191abe3b490_12_4468"/>
          <p:cNvSpPr/>
          <p:nvPr/>
        </p:nvSpPr>
        <p:spPr>
          <a:xfrm rot="277628">
            <a:off x="359151" y="-3391287"/>
            <a:ext cx="14442704" cy="13767677"/>
          </a:xfrm>
          <a:custGeom>
            <a:avLst/>
            <a:ahLst/>
            <a:rect l="l" t="t" r="r" b="b"/>
            <a:pathLst>
              <a:path w="154472" h="148515" extrusionOk="0">
                <a:moveTo>
                  <a:pt x="88939" y="1"/>
                </a:moveTo>
                <a:cubicBezTo>
                  <a:pt x="84075" y="1"/>
                  <a:pt x="78478" y="1648"/>
                  <a:pt x="72069" y="5669"/>
                </a:cubicBezTo>
                <a:cubicBezTo>
                  <a:pt x="61886" y="12053"/>
                  <a:pt x="57236" y="24332"/>
                  <a:pt x="54895" y="35457"/>
                </a:cubicBezTo>
                <a:cubicBezTo>
                  <a:pt x="52919" y="44971"/>
                  <a:pt x="43679" y="50017"/>
                  <a:pt x="36810" y="55214"/>
                </a:cubicBezTo>
                <a:cubicBezTo>
                  <a:pt x="28360" y="61658"/>
                  <a:pt x="20214" y="69135"/>
                  <a:pt x="13587" y="77677"/>
                </a:cubicBezTo>
                <a:cubicBezTo>
                  <a:pt x="0" y="95245"/>
                  <a:pt x="821" y="110929"/>
                  <a:pt x="9454" y="127465"/>
                </a:cubicBezTo>
                <a:cubicBezTo>
                  <a:pt x="12068" y="132419"/>
                  <a:pt x="16505" y="140140"/>
                  <a:pt x="29545" y="145489"/>
                </a:cubicBezTo>
                <a:cubicBezTo>
                  <a:pt x="34502" y="147539"/>
                  <a:pt x="39466" y="148514"/>
                  <a:pt x="44435" y="148514"/>
                </a:cubicBezTo>
                <a:cubicBezTo>
                  <a:pt x="57077" y="148514"/>
                  <a:pt x="69748" y="142200"/>
                  <a:pt x="82403" y="131203"/>
                </a:cubicBezTo>
                <a:cubicBezTo>
                  <a:pt x="86415" y="127708"/>
                  <a:pt x="89850" y="123544"/>
                  <a:pt x="93680" y="119866"/>
                </a:cubicBezTo>
                <a:cubicBezTo>
                  <a:pt x="97662" y="115975"/>
                  <a:pt x="102130" y="112601"/>
                  <a:pt x="106902" y="109774"/>
                </a:cubicBezTo>
                <a:cubicBezTo>
                  <a:pt x="118027" y="103209"/>
                  <a:pt x="131097" y="99561"/>
                  <a:pt x="140672" y="90868"/>
                </a:cubicBezTo>
                <a:cubicBezTo>
                  <a:pt x="145748" y="86279"/>
                  <a:pt x="149608" y="80351"/>
                  <a:pt x="151766" y="73847"/>
                </a:cubicBezTo>
                <a:cubicBezTo>
                  <a:pt x="154471" y="65670"/>
                  <a:pt x="152739" y="56977"/>
                  <a:pt x="146721" y="50898"/>
                </a:cubicBezTo>
                <a:cubicBezTo>
                  <a:pt x="141037" y="45153"/>
                  <a:pt x="136112" y="44849"/>
                  <a:pt x="130337" y="42205"/>
                </a:cubicBezTo>
                <a:cubicBezTo>
                  <a:pt x="123285" y="38892"/>
                  <a:pt x="118392" y="36430"/>
                  <a:pt x="116294" y="28892"/>
                </a:cubicBezTo>
                <a:cubicBezTo>
                  <a:pt x="113682" y="19384"/>
                  <a:pt x="105622" y="1"/>
                  <a:pt x="88939" y="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0570" name="Google Shape;280;g191abe3b490_12_4468"/>
          <p:cNvSpPr txBox="1">
            <a:spLocks noGrp="1"/>
          </p:cNvSpPr>
          <p:nvPr>
            <p:ph type="title"/>
          </p:nvPr>
        </p:nvSpPr>
        <p:spPr>
          <a:xfrm>
            <a:off x="914400" y="717767"/>
            <a:ext cx="51816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9pPr>
          </a:lstStyle>
          <a:p/>
        </p:txBody>
      </p:sp>
      <p:sp>
        <p:nvSpPr>
          <p:cNvPr id="1050571" name="Google Shape;281;g191abe3b490_12_4468"/>
          <p:cNvSpPr txBox="1">
            <a:spLocks noGrp="1"/>
          </p:cNvSpPr>
          <p:nvPr>
            <p:ph type="subTitle" idx="1"/>
          </p:nvPr>
        </p:nvSpPr>
        <p:spPr>
          <a:xfrm>
            <a:off x="6660300" y="4016327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2" name="Google Shape;282;g191abe3b490_12_4468"/>
          <p:cNvSpPr txBox="1">
            <a:spLocks noGrp="1"/>
          </p:cNvSpPr>
          <p:nvPr>
            <p:ph type="subTitle" idx="2"/>
          </p:nvPr>
        </p:nvSpPr>
        <p:spPr>
          <a:xfrm>
            <a:off x="6660300" y="3562860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b="1"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3" name="Google Shape;283;g191abe3b490_12_4468"/>
          <p:cNvSpPr txBox="1">
            <a:spLocks noGrp="1"/>
          </p:cNvSpPr>
          <p:nvPr>
            <p:ph type="subTitle" idx="3"/>
          </p:nvPr>
        </p:nvSpPr>
        <p:spPr>
          <a:xfrm>
            <a:off x="6660300" y="5395515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4" name="Google Shape;284;g191abe3b490_12_4468"/>
          <p:cNvSpPr txBox="1">
            <a:spLocks noGrp="1"/>
          </p:cNvSpPr>
          <p:nvPr>
            <p:ph type="subTitle" idx="4"/>
          </p:nvPr>
        </p:nvSpPr>
        <p:spPr>
          <a:xfrm>
            <a:off x="6660300" y="4942048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b="1"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5" name="Google Shape;285;g191abe3b490_12_4468"/>
          <p:cNvSpPr txBox="1">
            <a:spLocks noGrp="1"/>
          </p:cNvSpPr>
          <p:nvPr>
            <p:ph type="subTitle" idx="5"/>
          </p:nvPr>
        </p:nvSpPr>
        <p:spPr>
          <a:xfrm>
            <a:off x="6660300" y="2637153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6" name="Google Shape;286;g191abe3b490_12_4468"/>
          <p:cNvSpPr txBox="1">
            <a:spLocks noGrp="1"/>
          </p:cNvSpPr>
          <p:nvPr>
            <p:ph type="subTitle" idx="6"/>
          </p:nvPr>
        </p:nvSpPr>
        <p:spPr>
          <a:xfrm>
            <a:off x="6660300" y="2183688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b="1"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7" name="Google Shape;287;g191abe3b490_12_4468"/>
          <p:cNvSpPr txBox="1">
            <a:spLocks noGrp="1"/>
          </p:cNvSpPr>
          <p:nvPr>
            <p:ph type="subTitle" idx="7"/>
          </p:nvPr>
        </p:nvSpPr>
        <p:spPr>
          <a:xfrm>
            <a:off x="6658433" y="1257984"/>
            <a:ext cx="41604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19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578" name="Google Shape;288;g191abe3b490_12_4468"/>
          <p:cNvSpPr txBox="1">
            <a:spLocks noGrp="1"/>
          </p:cNvSpPr>
          <p:nvPr>
            <p:ph type="subTitle" idx="8"/>
          </p:nvPr>
        </p:nvSpPr>
        <p:spPr>
          <a:xfrm>
            <a:off x="6658433" y="804517"/>
            <a:ext cx="41604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b="1"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1">
    <p:bg>
      <p:bgPr>
        <a:solidFill>
          <a:schemeClr val="accent3"/>
        </a:solidFill>
      </p:bgPr>
    </p:bg>
    <p:spTree>
      <p:nvGrpSpPr>
        <p:cNvPr id="502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3" name="Google Shape;290;g191abe3b490_12_4479"/>
          <p:cNvGrpSpPr/>
          <p:nvPr/>
        </p:nvGrpSpPr>
        <p:grpSpPr>
          <a:xfrm rot="1351513">
            <a:off x="-557330" y="-3153606"/>
            <a:ext cx="13306474" cy="12793328"/>
            <a:chOff x="1786775" y="1002200"/>
            <a:chExt cx="3861800" cy="3712875"/>
          </a:xfrm>
        </p:grpSpPr>
        <p:sp>
          <p:nvSpPr>
            <p:cNvPr id="1050310" name="Google Shape;291;g191abe3b490_12_4479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11" name="Google Shape;292;g191abe3b490_12_4479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12" name="Google Shape;293;g191abe3b490_12_4479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313" name="Google Shape;294;g191abe3b490_12_447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None/>
              <a:defRPr>
                <a:solidFill>
                  <a:schemeClr val="accent3"/>
                </a:solidFill>
              </a:defRPr>
            </a:lvl9pPr>
          </a:lstStyle>
          <a:p/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 slide">
  <p:cSld name="CUSTOM_15">
    <p:spTree>
      <p:nvGrpSpPr>
        <p:cNvPr id="506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319" name="Google Shape;296;g191abe3b490_12_4485"/>
          <p:cNvSpPr txBox="1">
            <a:spLocks noGrp="1"/>
          </p:cNvSpPr>
          <p:nvPr>
            <p:ph type="title"/>
          </p:nvPr>
        </p:nvSpPr>
        <p:spPr>
          <a:xfrm>
            <a:off x="965200" y="926751"/>
            <a:ext cx="5752500" cy="132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700"/>
              <a:buNone/>
              <a:defRPr sz="6700">
                <a:solidFill>
                  <a:schemeClr val="accent3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lvl9pPr>
          </a:lstStyle>
          <a:p/>
        </p:txBody>
      </p:sp>
      <p:sp>
        <p:nvSpPr>
          <p:cNvPr id="1050320" name="Google Shape;297;g191abe3b490_12_4485"/>
          <p:cNvSpPr txBox="1">
            <a:spLocks noGrp="1"/>
          </p:cNvSpPr>
          <p:nvPr>
            <p:ph type="subTitle" idx="1"/>
          </p:nvPr>
        </p:nvSpPr>
        <p:spPr>
          <a:xfrm>
            <a:off x="965200" y="2351829"/>
            <a:ext cx="5752500" cy="1838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19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9pPr>
          </a:lstStyle>
          <a:p/>
        </p:txBody>
      </p:sp>
      <p:grpSp>
        <p:nvGrpSpPr>
          <p:cNvPr id="507" name="Google Shape;298;g191abe3b490_12_4485"/>
          <p:cNvGrpSpPr/>
          <p:nvPr/>
        </p:nvGrpSpPr>
        <p:grpSpPr>
          <a:xfrm>
            <a:off x="4791991" y="1231900"/>
            <a:ext cx="6802751" cy="3601716"/>
            <a:chOff x="847550" y="1140325"/>
            <a:chExt cx="6229625" cy="3298275"/>
          </a:xfrm>
        </p:grpSpPr>
        <p:sp>
          <p:nvSpPr>
            <p:cNvPr id="1050321" name="Google Shape;299;g191abe3b490_12_4485"/>
            <p:cNvSpPr/>
            <p:nvPr/>
          </p:nvSpPr>
          <p:spPr>
            <a:xfrm>
              <a:off x="936450" y="2929100"/>
              <a:ext cx="555825" cy="464275"/>
            </a:xfrm>
            <a:custGeom>
              <a:avLst/>
              <a:ahLst/>
              <a:rect l="l" t="t" r="r" b="b"/>
              <a:pathLst>
                <a:path w="22233" h="18571" extrusionOk="0">
                  <a:moveTo>
                    <a:pt x="12216" y="0"/>
                  </a:moveTo>
                  <a:cubicBezTo>
                    <a:pt x="11729" y="0"/>
                    <a:pt x="11239" y="41"/>
                    <a:pt x="10761" y="114"/>
                  </a:cubicBezTo>
                  <a:cubicBezTo>
                    <a:pt x="2584" y="1360"/>
                    <a:pt x="1" y="11847"/>
                    <a:pt x="6657" y="16741"/>
                  </a:cubicBezTo>
                  <a:cubicBezTo>
                    <a:pt x="8378" y="18006"/>
                    <a:pt x="10272" y="18570"/>
                    <a:pt x="12112" y="18570"/>
                  </a:cubicBezTo>
                  <a:cubicBezTo>
                    <a:pt x="17391" y="18570"/>
                    <a:pt x="22232" y="13928"/>
                    <a:pt x="21308" y="7865"/>
                  </a:cubicBezTo>
                  <a:lnTo>
                    <a:pt x="21308" y="7865"/>
                  </a:lnTo>
                  <a:lnTo>
                    <a:pt x="12159" y="9263"/>
                  </a:lnTo>
                  <a:lnTo>
                    <a:pt x="13162" y="53"/>
                  </a:lnTo>
                  <a:cubicBezTo>
                    <a:pt x="12850" y="18"/>
                    <a:pt x="12534" y="0"/>
                    <a:pt x="12216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2" name="Google Shape;300;g191abe3b490_12_4485"/>
            <p:cNvSpPr/>
            <p:nvPr/>
          </p:nvSpPr>
          <p:spPr>
            <a:xfrm>
              <a:off x="1286775" y="2931175"/>
              <a:ext cx="174025" cy="177100"/>
            </a:xfrm>
            <a:custGeom>
              <a:avLst/>
              <a:ahLst/>
              <a:rect l="l" t="t" r="r" b="b"/>
              <a:pathLst>
                <a:path w="6961" h="7084" extrusionOk="0">
                  <a:moveTo>
                    <a:pt x="1125" y="1"/>
                  </a:moveTo>
                  <a:lnTo>
                    <a:pt x="0" y="7083"/>
                  </a:lnTo>
                  <a:lnTo>
                    <a:pt x="0" y="7083"/>
                  </a:lnTo>
                  <a:lnTo>
                    <a:pt x="6961" y="5776"/>
                  </a:lnTo>
                  <a:cubicBezTo>
                    <a:pt x="6961" y="5776"/>
                    <a:pt x="5958" y="1825"/>
                    <a:pt x="1125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3" name="Google Shape;301;g191abe3b490_12_4485"/>
            <p:cNvSpPr/>
            <p:nvPr/>
          </p:nvSpPr>
          <p:spPr>
            <a:xfrm>
              <a:off x="5318750" y="3794425"/>
              <a:ext cx="553225" cy="553225"/>
            </a:xfrm>
            <a:custGeom>
              <a:avLst/>
              <a:ahLst/>
              <a:rect l="l" t="t" r="r" b="b"/>
              <a:pathLst>
                <a:path w="22129" h="22129" extrusionOk="0">
                  <a:moveTo>
                    <a:pt x="11242" y="7061"/>
                  </a:moveTo>
                  <a:cubicBezTo>
                    <a:pt x="13026" y="7061"/>
                    <a:pt x="14637" y="8278"/>
                    <a:pt x="15077" y="10092"/>
                  </a:cubicBezTo>
                  <a:cubicBezTo>
                    <a:pt x="15740" y="12744"/>
                    <a:pt x="13635" y="14991"/>
                    <a:pt x="11235" y="14991"/>
                  </a:cubicBezTo>
                  <a:cubicBezTo>
                    <a:pt x="10555" y="14991"/>
                    <a:pt x="9851" y="14810"/>
                    <a:pt x="9180" y="14408"/>
                  </a:cubicBezTo>
                  <a:cubicBezTo>
                    <a:pt x="6171" y="12584"/>
                    <a:pt x="6870" y="8025"/>
                    <a:pt x="10305" y="7174"/>
                  </a:cubicBezTo>
                  <a:cubicBezTo>
                    <a:pt x="10619" y="7097"/>
                    <a:pt x="10933" y="7061"/>
                    <a:pt x="11242" y="7061"/>
                  </a:cubicBezTo>
                  <a:close/>
                  <a:moveTo>
                    <a:pt x="10244" y="0"/>
                  </a:moveTo>
                  <a:lnTo>
                    <a:pt x="6657" y="882"/>
                  </a:lnTo>
                  <a:lnTo>
                    <a:pt x="6718" y="3101"/>
                  </a:lnTo>
                  <a:cubicBezTo>
                    <a:pt x="5989" y="3496"/>
                    <a:pt x="5350" y="3952"/>
                    <a:pt x="4773" y="4529"/>
                  </a:cubicBezTo>
                  <a:lnTo>
                    <a:pt x="2645" y="3800"/>
                  </a:lnTo>
                  <a:lnTo>
                    <a:pt x="761" y="6961"/>
                  </a:lnTo>
                  <a:lnTo>
                    <a:pt x="2372" y="8511"/>
                  </a:lnTo>
                  <a:cubicBezTo>
                    <a:pt x="2128" y="9271"/>
                    <a:pt x="2007" y="10092"/>
                    <a:pt x="1976" y="10882"/>
                  </a:cubicBezTo>
                  <a:lnTo>
                    <a:pt x="1" y="11885"/>
                  </a:lnTo>
                  <a:lnTo>
                    <a:pt x="882" y="15472"/>
                  </a:lnTo>
                  <a:lnTo>
                    <a:pt x="3101" y="15411"/>
                  </a:lnTo>
                  <a:cubicBezTo>
                    <a:pt x="3466" y="16140"/>
                    <a:pt x="3952" y="16779"/>
                    <a:pt x="4530" y="17356"/>
                  </a:cubicBezTo>
                  <a:lnTo>
                    <a:pt x="3800" y="19484"/>
                  </a:lnTo>
                  <a:lnTo>
                    <a:pt x="6961" y="21368"/>
                  </a:lnTo>
                  <a:lnTo>
                    <a:pt x="8511" y="19757"/>
                  </a:lnTo>
                  <a:cubicBezTo>
                    <a:pt x="9271" y="20001"/>
                    <a:pt x="10092" y="20122"/>
                    <a:pt x="10882" y="20153"/>
                  </a:cubicBezTo>
                  <a:lnTo>
                    <a:pt x="11885" y="22128"/>
                  </a:lnTo>
                  <a:lnTo>
                    <a:pt x="15472" y="21277"/>
                  </a:lnTo>
                  <a:lnTo>
                    <a:pt x="15411" y="19028"/>
                  </a:lnTo>
                  <a:cubicBezTo>
                    <a:pt x="16141" y="18663"/>
                    <a:pt x="16779" y="18177"/>
                    <a:pt x="17357" y="17630"/>
                  </a:cubicBezTo>
                  <a:lnTo>
                    <a:pt x="19484" y="18329"/>
                  </a:lnTo>
                  <a:lnTo>
                    <a:pt x="21369" y="15168"/>
                  </a:lnTo>
                  <a:lnTo>
                    <a:pt x="19758" y="13617"/>
                  </a:lnTo>
                  <a:cubicBezTo>
                    <a:pt x="20001" y="12858"/>
                    <a:pt x="20123" y="12037"/>
                    <a:pt x="20153" y="11247"/>
                  </a:cubicBezTo>
                  <a:lnTo>
                    <a:pt x="22129" y="10244"/>
                  </a:lnTo>
                  <a:lnTo>
                    <a:pt x="21278" y="6657"/>
                  </a:lnTo>
                  <a:lnTo>
                    <a:pt x="19028" y="6718"/>
                  </a:lnTo>
                  <a:cubicBezTo>
                    <a:pt x="18664" y="5988"/>
                    <a:pt x="18177" y="5350"/>
                    <a:pt x="17630" y="4772"/>
                  </a:cubicBezTo>
                  <a:lnTo>
                    <a:pt x="18329" y="2645"/>
                  </a:lnTo>
                  <a:lnTo>
                    <a:pt x="15168" y="760"/>
                  </a:lnTo>
                  <a:lnTo>
                    <a:pt x="13618" y="2371"/>
                  </a:lnTo>
                  <a:cubicBezTo>
                    <a:pt x="12858" y="2128"/>
                    <a:pt x="12037" y="2006"/>
                    <a:pt x="11247" y="1976"/>
                  </a:cubicBezTo>
                  <a:lnTo>
                    <a:pt x="10244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4" name="Google Shape;302;g191abe3b490_12_4485"/>
            <p:cNvSpPr/>
            <p:nvPr/>
          </p:nvSpPr>
          <p:spPr>
            <a:xfrm>
              <a:off x="5496575" y="3969950"/>
              <a:ext cx="205950" cy="201900"/>
            </a:xfrm>
            <a:custGeom>
              <a:avLst/>
              <a:ahLst/>
              <a:rect l="l" t="t" r="r" b="b"/>
              <a:pathLst>
                <a:path w="8238" h="8076" extrusionOk="0">
                  <a:moveTo>
                    <a:pt x="4164" y="1"/>
                  </a:moveTo>
                  <a:cubicBezTo>
                    <a:pt x="3830" y="1"/>
                    <a:pt x="3496" y="61"/>
                    <a:pt x="3192" y="153"/>
                  </a:cubicBezTo>
                  <a:cubicBezTo>
                    <a:pt x="3496" y="122"/>
                    <a:pt x="3830" y="92"/>
                    <a:pt x="4134" y="61"/>
                  </a:cubicBezTo>
                  <a:cubicBezTo>
                    <a:pt x="5016" y="92"/>
                    <a:pt x="5867" y="396"/>
                    <a:pt x="6566" y="973"/>
                  </a:cubicBezTo>
                  <a:cubicBezTo>
                    <a:pt x="7569" y="1794"/>
                    <a:pt x="8086" y="3071"/>
                    <a:pt x="7934" y="4378"/>
                  </a:cubicBezTo>
                  <a:cubicBezTo>
                    <a:pt x="7903" y="4742"/>
                    <a:pt x="7812" y="5107"/>
                    <a:pt x="7660" y="5441"/>
                  </a:cubicBezTo>
                  <a:cubicBezTo>
                    <a:pt x="7508" y="5806"/>
                    <a:pt x="7326" y="6141"/>
                    <a:pt x="7052" y="6444"/>
                  </a:cubicBezTo>
                  <a:cubicBezTo>
                    <a:pt x="6318" y="7325"/>
                    <a:pt x="5238" y="7815"/>
                    <a:pt x="4129" y="7815"/>
                  </a:cubicBezTo>
                  <a:cubicBezTo>
                    <a:pt x="3630" y="7815"/>
                    <a:pt x="3126" y="7716"/>
                    <a:pt x="2645" y="7508"/>
                  </a:cubicBezTo>
                  <a:cubicBezTo>
                    <a:pt x="1946" y="7235"/>
                    <a:pt x="1338" y="6748"/>
                    <a:pt x="912" y="6110"/>
                  </a:cubicBezTo>
                  <a:cubicBezTo>
                    <a:pt x="547" y="5533"/>
                    <a:pt x="304" y="4864"/>
                    <a:pt x="274" y="4195"/>
                  </a:cubicBezTo>
                  <a:cubicBezTo>
                    <a:pt x="243" y="3587"/>
                    <a:pt x="335" y="2979"/>
                    <a:pt x="578" y="2432"/>
                  </a:cubicBezTo>
                  <a:cubicBezTo>
                    <a:pt x="912" y="1612"/>
                    <a:pt x="1520" y="943"/>
                    <a:pt x="2280" y="517"/>
                  </a:cubicBezTo>
                  <a:cubicBezTo>
                    <a:pt x="2584" y="396"/>
                    <a:pt x="2888" y="274"/>
                    <a:pt x="3192" y="153"/>
                  </a:cubicBezTo>
                  <a:lnTo>
                    <a:pt x="3192" y="153"/>
                  </a:lnTo>
                  <a:cubicBezTo>
                    <a:pt x="2857" y="213"/>
                    <a:pt x="2554" y="305"/>
                    <a:pt x="2250" y="457"/>
                  </a:cubicBezTo>
                  <a:cubicBezTo>
                    <a:pt x="851" y="1186"/>
                    <a:pt x="0" y="2645"/>
                    <a:pt x="91" y="4226"/>
                  </a:cubicBezTo>
                  <a:cubicBezTo>
                    <a:pt x="122" y="4925"/>
                    <a:pt x="335" y="5624"/>
                    <a:pt x="760" y="6232"/>
                  </a:cubicBezTo>
                  <a:cubicBezTo>
                    <a:pt x="1186" y="6900"/>
                    <a:pt x="1824" y="7448"/>
                    <a:pt x="2554" y="7752"/>
                  </a:cubicBezTo>
                  <a:cubicBezTo>
                    <a:pt x="3067" y="7970"/>
                    <a:pt x="3608" y="8076"/>
                    <a:pt x="4142" y="8076"/>
                  </a:cubicBezTo>
                  <a:cubicBezTo>
                    <a:pt x="5316" y="8076"/>
                    <a:pt x="6462" y="7567"/>
                    <a:pt x="7234" y="6627"/>
                  </a:cubicBezTo>
                  <a:cubicBezTo>
                    <a:pt x="7508" y="6323"/>
                    <a:pt x="7721" y="5958"/>
                    <a:pt x="7873" y="5593"/>
                  </a:cubicBezTo>
                  <a:cubicBezTo>
                    <a:pt x="8025" y="5229"/>
                    <a:pt x="8116" y="4834"/>
                    <a:pt x="8146" y="4438"/>
                  </a:cubicBezTo>
                  <a:cubicBezTo>
                    <a:pt x="8238" y="3709"/>
                    <a:pt x="8116" y="2979"/>
                    <a:pt x="7812" y="2341"/>
                  </a:cubicBezTo>
                  <a:cubicBezTo>
                    <a:pt x="7538" y="1764"/>
                    <a:pt x="7143" y="1247"/>
                    <a:pt x="6657" y="882"/>
                  </a:cubicBezTo>
                  <a:cubicBezTo>
                    <a:pt x="5958" y="305"/>
                    <a:pt x="5076" y="1"/>
                    <a:pt x="4164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5" name="Google Shape;303;g191abe3b490_12_4485"/>
            <p:cNvSpPr/>
            <p:nvPr/>
          </p:nvSpPr>
          <p:spPr>
            <a:xfrm>
              <a:off x="2786800" y="3847650"/>
              <a:ext cx="607925" cy="590950"/>
            </a:xfrm>
            <a:custGeom>
              <a:avLst/>
              <a:ahLst/>
              <a:rect l="l" t="t" r="r" b="b"/>
              <a:pathLst>
                <a:path w="24317" h="23638" extrusionOk="0">
                  <a:moveTo>
                    <a:pt x="12666" y="1"/>
                  </a:moveTo>
                  <a:cubicBezTo>
                    <a:pt x="11403" y="1"/>
                    <a:pt x="10142" y="205"/>
                    <a:pt x="8937" y="607"/>
                  </a:cubicBezTo>
                  <a:cubicBezTo>
                    <a:pt x="7842" y="941"/>
                    <a:pt x="6839" y="1458"/>
                    <a:pt x="5897" y="2127"/>
                  </a:cubicBezTo>
                  <a:cubicBezTo>
                    <a:pt x="5411" y="2461"/>
                    <a:pt x="4955" y="2826"/>
                    <a:pt x="4529" y="3221"/>
                  </a:cubicBezTo>
                  <a:cubicBezTo>
                    <a:pt x="4104" y="3646"/>
                    <a:pt x="3708" y="4102"/>
                    <a:pt x="3313" y="4558"/>
                  </a:cubicBezTo>
                  <a:cubicBezTo>
                    <a:pt x="122" y="8662"/>
                    <a:pt x="0" y="14346"/>
                    <a:pt x="2979" y="18601"/>
                  </a:cubicBezTo>
                  <a:cubicBezTo>
                    <a:pt x="3344" y="19087"/>
                    <a:pt x="3708" y="19543"/>
                    <a:pt x="4134" y="19999"/>
                  </a:cubicBezTo>
                  <a:cubicBezTo>
                    <a:pt x="4529" y="20425"/>
                    <a:pt x="4985" y="20790"/>
                    <a:pt x="5441" y="21154"/>
                  </a:cubicBezTo>
                  <a:cubicBezTo>
                    <a:pt x="6353" y="21884"/>
                    <a:pt x="7356" y="22431"/>
                    <a:pt x="8420" y="22826"/>
                  </a:cubicBezTo>
                  <a:cubicBezTo>
                    <a:pt x="9772" y="23367"/>
                    <a:pt x="11195" y="23637"/>
                    <a:pt x="12630" y="23637"/>
                  </a:cubicBezTo>
                  <a:cubicBezTo>
                    <a:pt x="13293" y="23637"/>
                    <a:pt x="13958" y="23580"/>
                    <a:pt x="14621" y="23464"/>
                  </a:cubicBezTo>
                  <a:cubicBezTo>
                    <a:pt x="17964" y="22917"/>
                    <a:pt x="20882" y="20941"/>
                    <a:pt x="22645" y="18054"/>
                  </a:cubicBezTo>
                  <a:cubicBezTo>
                    <a:pt x="23253" y="17081"/>
                    <a:pt x="23678" y="16048"/>
                    <a:pt x="23952" y="14954"/>
                  </a:cubicBezTo>
                  <a:cubicBezTo>
                    <a:pt x="24074" y="14528"/>
                    <a:pt x="24134" y="14133"/>
                    <a:pt x="24195" y="13738"/>
                  </a:cubicBezTo>
                  <a:cubicBezTo>
                    <a:pt x="24256" y="13434"/>
                    <a:pt x="24286" y="13130"/>
                    <a:pt x="24286" y="12826"/>
                  </a:cubicBezTo>
                  <a:cubicBezTo>
                    <a:pt x="24317" y="12583"/>
                    <a:pt x="24317" y="12340"/>
                    <a:pt x="24286" y="12096"/>
                  </a:cubicBezTo>
                  <a:cubicBezTo>
                    <a:pt x="24195" y="12340"/>
                    <a:pt x="24165" y="12583"/>
                    <a:pt x="24165" y="12826"/>
                  </a:cubicBezTo>
                  <a:cubicBezTo>
                    <a:pt x="24134" y="13130"/>
                    <a:pt x="24074" y="13403"/>
                    <a:pt x="24013" y="13707"/>
                  </a:cubicBezTo>
                  <a:cubicBezTo>
                    <a:pt x="23952" y="14102"/>
                    <a:pt x="23861" y="14498"/>
                    <a:pt x="23739" y="14862"/>
                  </a:cubicBezTo>
                  <a:cubicBezTo>
                    <a:pt x="23435" y="15926"/>
                    <a:pt x="22949" y="16929"/>
                    <a:pt x="22341" y="17872"/>
                  </a:cubicBezTo>
                  <a:cubicBezTo>
                    <a:pt x="20201" y="21193"/>
                    <a:pt x="16540" y="23076"/>
                    <a:pt x="12749" y="23076"/>
                  </a:cubicBezTo>
                  <a:cubicBezTo>
                    <a:pt x="11372" y="23076"/>
                    <a:pt x="9977" y="22828"/>
                    <a:pt x="8633" y="22309"/>
                  </a:cubicBezTo>
                  <a:cubicBezTo>
                    <a:pt x="7630" y="21914"/>
                    <a:pt x="6687" y="21367"/>
                    <a:pt x="5836" y="20698"/>
                  </a:cubicBezTo>
                  <a:cubicBezTo>
                    <a:pt x="5380" y="20334"/>
                    <a:pt x="4955" y="19969"/>
                    <a:pt x="4590" y="19574"/>
                  </a:cubicBezTo>
                  <a:cubicBezTo>
                    <a:pt x="4195" y="19148"/>
                    <a:pt x="3830" y="18692"/>
                    <a:pt x="3496" y="18236"/>
                  </a:cubicBezTo>
                  <a:cubicBezTo>
                    <a:pt x="699" y="14224"/>
                    <a:pt x="821" y="8814"/>
                    <a:pt x="3830" y="4953"/>
                  </a:cubicBezTo>
                  <a:cubicBezTo>
                    <a:pt x="4499" y="4042"/>
                    <a:pt x="5319" y="3251"/>
                    <a:pt x="6262" y="2613"/>
                  </a:cubicBezTo>
                  <a:cubicBezTo>
                    <a:pt x="7143" y="1975"/>
                    <a:pt x="8116" y="1488"/>
                    <a:pt x="9149" y="1124"/>
                  </a:cubicBezTo>
                  <a:cubicBezTo>
                    <a:pt x="10332" y="729"/>
                    <a:pt x="11561" y="532"/>
                    <a:pt x="12794" y="532"/>
                  </a:cubicBezTo>
                  <a:cubicBezTo>
                    <a:pt x="13557" y="532"/>
                    <a:pt x="14321" y="608"/>
                    <a:pt x="15076" y="759"/>
                  </a:cubicBezTo>
                  <a:cubicBezTo>
                    <a:pt x="16809" y="1124"/>
                    <a:pt x="18390" y="1883"/>
                    <a:pt x="19788" y="2978"/>
                  </a:cubicBezTo>
                  <a:cubicBezTo>
                    <a:pt x="20912" y="3859"/>
                    <a:pt x="21885" y="4984"/>
                    <a:pt x="22615" y="6230"/>
                  </a:cubicBezTo>
                  <a:cubicBezTo>
                    <a:pt x="23162" y="7172"/>
                    <a:pt x="23587" y="8206"/>
                    <a:pt x="23861" y="9270"/>
                  </a:cubicBezTo>
                  <a:cubicBezTo>
                    <a:pt x="23952" y="9665"/>
                    <a:pt x="24043" y="10060"/>
                    <a:pt x="24074" y="10455"/>
                  </a:cubicBezTo>
                  <a:cubicBezTo>
                    <a:pt x="24134" y="10759"/>
                    <a:pt x="24165" y="11033"/>
                    <a:pt x="24165" y="11336"/>
                  </a:cubicBezTo>
                  <a:cubicBezTo>
                    <a:pt x="24165" y="11580"/>
                    <a:pt x="24195" y="11823"/>
                    <a:pt x="24256" y="12066"/>
                  </a:cubicBezTo>
                  <a:cubicBezTo>
                    <a:pt x="24286" y="11823"/>
                    <a:pt x="24317" y="11610"/>
                    <a:pt x="24317" y="11367"/>
                  </a:cubicBezTo>
                  <a:cubicBezTo>
                    <a:pt x="24317" y="11063"/>
                    <a:pt x="24317" y="10759"/>
                    <a:pt x="24256" y="10455"/>
                  </a:cubicBezTo>
                  <a:cubicBezTo>
                    <a:pt x="24226" y="10060"/>
                    <a:pt x="24165" y="9634"/>
                    <a:pt x="24074" y="9239"/>
                  </a:cubicBezTo>
                  <a:cubicBezTo>
                    <a:pt x="23861" y="8145"/>
                    <a:pt x="23466" y="7051"/>
                    <a:pt x="22919" y="6078"/>
                  </a:cubicBezTo>
                  <a:cubicBezTo>
                    <a:pt x="21308" y="3099"/>
                    <a:pt x="18481" y="1002"/>
                    <a:pt x="15168" y="273"/>
                  </a:cubicBezTo>
                  <a:cubicBezTo>
                    <a:pt x="14343" y="91"/>
                    <a:pt x="13504" y="1"/>
                    <a:pt x="12666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6" name="Google Shape;304;g191abe3b490_12_4485"/>
            <p:cNvSpPr/>
            <p:nvPr/>
          </p:nvSpPr>
          <p:spPr>
            <a:xfrm>
              <a:off x="2881025" y="3957700"/>
              <a:ext cx="455200" cy="95975"/>
            </a:xfrm>
            <a:custGeom>
              <a:avLst/>
              <a:ahLst/>
              <a:rect l="l" t="t" r="r" b="b"/>
              <a:pathLst>
                <a:path w="18208" h="3839" extrusionOk="0">
                  <a:moveTo>
                    <a:pt x="72" y="1"/>
                  </a:moveTo>
                  <a:cubicBezTo>
                    <a:pt x="67" y="1"/>
                    <a:pt x="64" y="2"/>
                    <a:pt x="61" y="4"/>
                  </a:cubicBezTo>
                  <a:cubicBezTo>
                    <a:pt x="0" y="65"/>
                    <a:pt x="760" y="916"/>
                    <a:pt x="2310" y="1858"/>
                  </a:cubicBezTo>
                  <a:cubicBezTo>
                    <a:pt x="3222" y="2406"/>
                    <a:pt x="4164" y="2831"/>
                    <a:pt x="5198" y="3196"/>
                  </a:cubicBezTo>
                  <a:cubicBezTo>
                    <a:pt x="5471" y="3287"/>
                    <a:pt x="5775" y="3348"/>
                    <a:pt x="6079" y="3439"/>
                  </a:cubicBezTo>
                  <a:lnTo>
                    <a:pt x="6535" y="3561"/>
                  </a:lnTo>
                  <a:cubicBezTo>
                    <a:pt x="6687" y="3591"/>
                    <a:pt x="6839" y="3621"/>
                    <a:pt x="7022" y="3621"/>
                  </a:cubicBezTo>
                  <a:lnTo>
                    <a:pt x="7994" y="3804"/>
                  </a:lnTo>
                  <a:lnTo>
                    <a:pt x="9028" y="3834"/>
                  </a:lnTo>
                  <a:cubicBezTo>
                    <a:pt x="9136" y="3837"/>
                    <a:pt x="9244" y="3838"/>
                    <a:pt x="9352" y="3838"/>
                  </a:cubicBezTo>
                  <a:cubicBezTo>
                    <a:pt x="11612" y="3838"/>
                    <a:pt x="13832" y="3234"/>
                    <a:pt x="15776" y="2132"/>
                  </a:cubicBezTo>
                  <a:lnTo>
                    <a:pt x="16353" y="1828"/>
                  </a:lnTo>
                  <a:cubicBezTo>
                    <a:pt x="16536" y="1706"/>
                    <a:pt x="16688" y="1615"/>
                    <a:pt x="16839" y="1494"/>
                  </a:cubicBezTo>
                  <a:lnTo>
                    <a:pt x="17599" y="977"/>
                  </a:lnTo>
                  <a:cubicBezTo>
                    <a:pt x="17995" y="673"/>
                    <a:pt x="18207" y="491"/>
                    <a:pt x="18177" y="460"/>
                  </a:cubicBezTo>
                  <a:cubicBezTo>
                    <a:pt x="18173" y="456"/>
                    <a:pt x="18166" y="455"/>
                    <a:pt x="18156" y="455"/>
                  </a:cubicBezTo>
                  <a:cubicBezTo>
                    <a:pt x="18083" y="455"/>
                    <a:pt x="17847" y="551"/>
                    <a:pt x="17447" y="764"/>
                  </a:cubicBezTo>
                  <a:lnTo>
                    <a:pt x="16657" y="1190"/>
                  </a:lnTo>
                  <a:cubicBezTo>
                    <a:pt x="16505" y="1281"/>
                    <a:pt x="16353" y="1372"/>
                    <a:pt x="16171" y="1463"/>
                  </a:cubicBezTo>
                  <a:lnTo>
                    <a:pt x="15593" y="1706"/>
                  </a:lnTo>
                  <a:cubicBezTo>
                    <a:pt x="13617" y="2710"/>
                    <a:pt x="11439" y="3197"/>
                    <a:pt x="9229" y="3197"/>
                  </a:cubicBezTo>
                  <a:cubicBezTo>
                    <a:pt x="9162" y="3197"/>
                    <a:pt x="9095" y="3197"/>
                    <a:pt x="9028" y="3196"/>
                  </a:cubicBezTo>
                  <a:lnTo>
                    <a:pt x="8055" y="3165"/>
                  </a:lnTo>
                  <a:lnTo>
                    <a:pt x="7113" y="3013"/>
                  </a:lnTo>
                  <a:lnTo>
                    <a:pt x="6657" y="2953"/>
                  </a:lnTo>
                  <a:lnTo>
                    <a:pt x="6201" y="2831"/>
                  </a:lnTo>
                  <a:cubicBezTo>
                    <a:pt x="5897" y="2770"/>
                    <a:pt x="5623" y="2710"/>
                    <a:pt x="5350" y="2618"/>
                  </a:cubicBezTo>
                  <a:cubicBezTo>
                    <a:pt x="4377" y="2314"/>
                    <a:pt x="3435" y="1919"/>
                    <a:pt x="2523" y="1463"/>
                  </a:cubicBezTo>
                  <a:cubicBezTo>
                    <a:pt x="1036" y="676"/>
                    <a:pt x="192" y="1"/>
                    <a:pt x="72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7" name="Google Shape;305;g191abe3b490_12_4485"/>
            <p:cNvSpPr/>
            <p:nvPr/>
          </p:nvSpPr>
          <p:spPr>
            <a:xfrm>
              <a:off x="2872650" y="4235800"/>
              <a:ext cx="455975" cy="95225"/>
            </a:xfrm>
            <a:custGeom>
              <a:avLst/>
              <a:ahLst/>
              <a:rect l="l" t="t" r="r" b="b"/>
              <a:pathLst>
                <a:path w="18239" h="3809" extrusionOk="0">
                  <a:moveTo>
                    <a:pt x="8872" y="1"/>
                  </a:moveTo>
                  <a:cubicBezTo>
                    <a:pt x="6615" y="1"/>
                    <a:pt x="4371" y="578"/>
                    <a:pt x="2402" y="1707"/>
                  </a:cubicBezTo>
                  <a:lnTo>
                    <a:pt x="1855" y="2011"/>
                  </a:lnTo>
                  <a:cubicBezTo>
                    <a:pt x="1673" y="2102"/>
                    <a:pt x="1521" y="2224"/>
                    <a:pt x="1369" y="2346"/>
                  </a:cubicBezTo>
                  <a:lnTo>
                    <a:pt x="609" y="2862"/>
                  </a:lnTo>
                  <a:cubicBezTo>
                    <a:pt x="214" y="3166"/>
                    <a:pt x="1" y="3349"/>
                    <a:pt x="31" y="3379"/>
                  </a:cubicBezTo>
                  <a:cubicBezTo>
                    <a:pt x="35" y="3383"/>
                    <a:pt x="42" y="3385"/>
                    <a:pt x="52" y="3385"/>
                  </a:cubicBezTo>
                  <a:cubicBezTo>
                    <a:pt x="125" y="3385"/>
                    <a:pt x="361" y="3288"/>
                    <a:pt x="761" y="3075"/>
                  </a:cubicBezTo>
                  <a:lnTo>
                    <a:pt x="1551" y="2619"/>
                  </a:lnTo>
                  <a:cubicBezTo>
                    <a:pt x="1703" y="2558"/>
                    <a:pt x="1855" y="2437"/>
                    <a:pt x="2037" y="2346"/>
                  </a:cubicBezTo>
                  <a:lnTo>
                    <a:pt x="2615" y="2102"/>
                  </a:lnTo>
                  <a:cubicBezTo>
                    <a:pt x="4544" y="1152"/>
                    <a:pt x="6664" y="639"/>
                    <a:pt x="8819" y="639"/>
                  </a:cubicBezTo>
                  <a:cubicBezTo>
                    <a:pt x="8940" y="639"/>
                    <a:pt x="9060" y="640"/>
                    <a:pt x="9180" y="643"/>
                  </a:cubicBezTo>
                  <a:lnTo>
                    <a:pt x="10183" y="674"/>
                  </a:lnTo>
                  <a:lnTo>
                    <a:pt x="11126" y="795"/>
                  </a:lnTo>
                  <a:lnTo>
                    <a:pt x="11582" y="887"/>
                  </a:lnTo>
                  <a:lnTo>
                    <a:pt x="12007" y="978"/>
                  </a:lnTo>
                  <a:cubicBezTo>
                    <a:pt x="12311" y="1069"/>
                    <a:pt x="12585" y="1130"/>
                    <a:pt x="12889" y="1191"/>
                  </a:cubicBezTo>
                  <a:cubicBezTo>
                    <a:pt x="13861" y="1494"/>
                    <a:pt x="14804" y="1890"/>
                    <a:pt x="15715" y="2376"/>
                  </a:cubicBezTo>
                  <a:cubicBezTo>
                    <a:pt x="17203" y="3134"/>
                    <a:pt x="18046" y="3808"/>
                    <a:pt x="18166" y="3808"/>
                  </a:cubicBezTo>
                  <a:cubicBezTo>
                    <a:pt x="18171" y="3808"/>
                    <a:pt x="18175" y="3807"/>
                    <a:pt x="18178" y="3805"/>
                  </a:cubicBezTo>
                  <a:cubicBezTo>
                    <a:pt x="18238" y="3774"/>
                    <a:pt x="17478" y="2923"/>
                    <a:pt x="15928" y="1981"/>
                  </a:cubicBezTo>
                  <a:cubicBezTo>
                    <a:pt x="15016" y="1434"/>
                    <a:pt x="14044" y="978"/>
                    <a:pt x="13041" y="643"/>
                  </a:cubicBezTo>
                  <a:cubicBezTo>
                    <a:pt x="12767" y="552"/>
                    <a:pt x="12463" y="491"/>
                    <a:pt x="12159" y="400"/>
                  </a:cubicBezTo>
                  <a:lnTo>
                    <a:pt x="11703" y="279"/>
                  </a:lnTo>
                  <a:cubicBezTo>
                    <a:pt x="11551" y="248"/>
                    <a:pt x="11369" y="218"/>
                    <a:pt x="11217" y="187"/>
                  </a:cubicBezTo>
                  <a:lnTo>
                    <a:pt x="10244" y="35"/>
                  </a:lnTo>
                  <a:lnTo>
                    <a:pt x="9211" y="5"/>
                  </a:lnTo>
                  <a:cubicBezTo>
                    <a:pt x="9098" y="2"/>
                    <a:pt x="8985" y="1"/>
                    <a:pt x="8872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8" name="Google Shape;306;g191abe3b490_12_4485"/>
            <p:cNvSpPr/>
            <p:nvPr/>
          </p:nvSpPr>
          <p:spPr>
            <a:xfrm>
              <a:off x="2815675" y="4138500"/>
              <a:ext cx="577525" cy="21175"/>
            </a:xfrm>
            <a:custGeom>
              <a:avLst/>
              <a:ahLst/>
              <a:rect l="l" t="t" r="r" b="b"/>
              <a:pathLst>
                <a:path w="23101" h="847" extrusionOk="0">
                  <a:moveTo>
                    <a:pt x="4274" y="0"/>
                  </a:moveTo>
                  <a:cubicBezTo>
                    <a:pt x="1666" y="0"/>
                    <a:pt x="0" y="55"/>
                    <a:pt x="0" y="158"/>
                  </a:cubicBezTo>
                  <a:cubicBezTo>
                    <a:pt x="0" y="310"/>
                    <a:pt x="5167" y="584"/>
                    <a:pt x="11520" y="736"/>
                  </a:cubicBezTo>
                  <a:cubicBezTo>
                    <a:pt x="14566" y="808"/>
                    <a:pt x="17343" y="846"/>
                    <a:pt x="19413" y="846"/>
                  </a:cubicBezTo>
                  <a:cubicBezTo>
                    <a:pt x="21680" y="846"/>
                    <a:pt x="23101" y="801"/>
                    <a:pt x="23101" y="706"/>
                  </a:cubicBezTo>
                  <a:cubicBezTo>
                    <a:pt x="23101" y="523"/>
                    <a:pt x="17934" y="250"/>
                    <a:pt x="11551" y="98"/>
                  </a:cubicBezTo>
                  <a:cubicBezTo>
                    <a:pt x="8792" y="32"/>
                    <a:pt x="6260" y="0"/>
                    <a:pt x="427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29" name="Google Shape;307;g191abe3b490_12_4485"/>
            <p:cNvSpPr/>
            <p:nvPr/>
          </p:nvSpPr>
          <p:spPr>
            <a:xfrm>
              <a:off x="3086200" y="3853700"/>
              <a:ext cx="23575" cy="577525"/>
            </a:xfrm>
            <a:custGeom>
              <a:avLst/>
              <a:ahLst/>
              <a:rect l="l" t="t" r="r" b="b"/>
              <a:pathLst>
                <a:path w="943" h="23101" extrusionOk="0">
                  <a:moveTo>
                    <a:pt x="760" y="0"/>
                  </a:moveTo>
                  <a:cubicBezTo>
                    <a:pt x="578" y="0"/>
                    <a:pt x="304" y="5167"/>
                    <a:pt x="152" y="11550"/>
                  </a:cubicBezTo>
                  <a:cubicBezTo>
                    <a:pt x="0" y="17903"/>
                    <a:pt x="30" y="23101"/>
                    <a:pt x="182" y="23101"/>
                  </a:cubicBezTo>
                  <a:cubicBezTo>
                    <a:pt x="183" y="23101"/>
                    <a:pt x="184" y="23101"/>
                    <a:pt x="184" y="23101"/>
                  </a:cubicBezTo>
                  <a:cubicBezTo>
                    <a:pt x="366" y="23101"/>
                    <a:pt x="639" y="17915"/>
                    <a:pt x="790" y="11550"/>
                  </a:cubicBezTo>
                  <a:cubicBezTo>
                    <a:pt x="942" y="5167"/>
                    <a:pt x="912" y="0"/>
                    <a:pt x="760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0" name="Google Shape;308;g191abe3b490_12_4485"/>
            <p:cNvSpPr/>
            <p:nvPr/>
          </p:nvSpPr>
          <p:spPr>
            <a:xfrm>
              <a:off x="2946375" y="3852900"/>
              <a:ext cx="159600" cy="577650"/>
            </a:xfrm>
            <a:custGeom>
              <a:avLst/>
              <a:ahLst/>
              <a:rect l="l" t="t" r="r" b="b"/>
              <a:pathLst>
                <a:path w="6384" h="23106" extrusionOk="0">
                  <a:moveTo>
                    <a:pt x="6348" y="1"/>
                  </a:moveTo>
                  <a:cubicBezTo>
                    <a:pt x="6245" y="1"/>
                    <a:pt x="4987" y="797"/>
                    <a:pt x="3465" y="2677"/>
                  </a:cubicBezTo>
                  <a:cubicBezTo>
                    <a:pt x="2554" y="3771"/>
                    <a:pt x="1794" y="4987"/>
                    <a:pt x="1216" y="6294"/>
                  </a:cubicBezTo>
                  <a:cubicBezTo>
                    <a:pt x="487" y="7905"/>
                    <a:pt x="91" y="9668"/>
                    <a:pt x="31" y="11430"/>
                  </a:cubicBezTo>
                  <a:cubicBezTo>
                    <a:pt x="0" y="13193"/>
                    <a:pt x="304" y="14956"/>
                    <a:pt x="943" y="16598"/>
                  </a:cubicBezTo>
                  <a:cubicBezTo>
                    <a:pt x="1429" y="17935"/>
                    <a:pt x="2128" y="19212"/>
                    <a:pt x="3009" y="20367"/>
                  </a:cubicBezTo>
                  <a:cubicBezTo>
                    <a:pt x="4420" y="22247"/>
                    <a:pt x="5660" y="23105"/>
                    <a:pt x="5768" y="23105"/>
                  </a:cubicBezTo>
                  <a:cubicBezTo>
                    <a:pt x="5772" y="23105"/>
                    <a:pt x="5774" y="23104"/>
                    <a:pt x="5775" y="23102"/>
                  </a:cubicBezTo>
                  <a:cubicBezTo>
                    <a:pt x="5836" y="23042"/>
                    <a:pt x="4712" y="22069"/>
                    <a:pt x="3374" y="20093"/>
                  </a:cubicBezTo>
                  <a:cubicBezTo>
                    <a:pt x="2584" y="18938"/>
                    <a:pt x="1946" y="17722"/>
                    <a:pt x="1490" y="16415"/>
                  </a:cubicBezTo>
                  <a:cubicBezTo>
                    <a:pt x="912" y="14804"/>
                    <a:pt x="639" y="13133"/>
                    <a:pt x="669" y="11430"/>
                  </a:cubicBezTo>
                  <a:cubicBezTo>
                    <a:pt x="699" y="9728"/>
                    <a:pt x="1064" y="8087"/>
                    <a:pt x="1733" y="6506"/>
                  </a:cubicBezTo>
                  <a:cubicBezTo>
                    <a:pt x="2280" y="5260"/>
                    <a:pt x="2979" y="4044"/>
                    <a:pt x="3800" y="2920"/>
                  </a:cubicBezTo>
                  <a:cubicBezTo>
                    <a:pt x="5228" y="1035"/>
                    <a:pt x="6383" y="63"/>
                    <a:pt x="6353" y="2"/>
                  </a:cubicBezTo>
                  <a:cubicBezTo>
                    <a:pt x="6352" y="1"/>
                    <a:pt x="6350" y="1"/>
                    <a:pt x="6348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1" name="Google Shape;309;g191abe3b490_12_4485"/>
            <p:cNvSpPr/>
            <p:nvPr/>
          </p:nvSpPr>
          <p:spPr>
            <a:xfrm>
              <a:off x="3096075" y="3853625"/>
              <a:ext cx="159600" cy="577675"/>
            </a:xfrm>
            <a:custGeom>
              <a:avLst/>
              <a:ahLst/>
              <a:rect l="l" t="t" r="r" b="b"/>
              <a:pathLst>
                <a:path w="6384" h="23107" extrusionOk="0">
                  <a:moveTo>
                    <a:pt x="618" y="0"/>
                  </a:moveTo>
                  <a:cubicBezTo>
                    <a:pt x="614" y="0"/>
                    <a:pt x="610" y="1"/>
                    <a:pt x="608" y="3"/>
                  </a:cubicBezTo>
                  <a:cubicBezTo>
                    <a:pt x="547" y="64"/>
                    <a:pt x="1702" y="1037"/>
                    <a:pt x="3040" y="3012"/>
                  </a:cubicBezTo>
                  <a:cubicBezTo>
                    <a:pt x="3830" y="4167"/>
                    <a:pt x="4468" y="5383"/>
                    <a:pt x="4924" y="6690"/>
                  </a:cubicBezTo>
                  <a:cubicBezTo>
                    <a:pt x="5502" y="8301"/>
                    <a:pt x="5775" y="9973"/>
                    <a:pt x="5745" y="11675"/>
                  </a:cubicBezTo>
                  <a:cubicBezTo>
                    <a:pt x="5684" y="13377"/>
                    <a:pt x="5319" y="15019"/>
                    <a:pt x="4651" y="16599"/>
                  </a:cubicBezTo>
                  <a:cubicBezTo>
                    <a:pt x="4104" y="17876"/>
                    <a:pt x="3405" y="19061"/>
                    <a:pt x="2584" y="20186"/>
                  </a:cubicBezTo>
                  <a:cubicBezTo>
                    <a:pt x="1155" y="22070"/>
                    <a:pt x="0" y="23043"/>
                    <a:pt x="61" y="23104"/>
                  </a:cubicBezTo>
                  <a:cubicBezTo>
                    <a:pt x="62" y="23106"/>
                    <a:pt x="64" y="23107"/>
                    <a:pt x="68" y="23107"/>
                  </a:cubicBezTo>
                  <a:cubicBezTo>
                    <a:pt x="177" y="23107"/>
                    <a:pt x="1421" y="22251"/>
                    <a:pt x="2949" y="20429"/>
                  </a:cubicBezTo>
                  <a:cubicBezTo>
                    <a:pt x="3860" y="19335"/>
                    <a:pt x="4590" y="18119"/>
                    <a:pt x="5198" y="16812"/>
                  </a:cubicBezTo>
                  <a:cubicBezTo>
                    <a:pt x="5927" y="15201"/>
                    <a:pt x="6323" y="13438"/>
                    <a:pt x="6353" y="11675"/>
                  </a:cubicBezTo>
                  <a:cubicBezTo>
                    <a:pt x="6383" y="9912"/>
                    <a:pt x="6079" y="8149"/>
                    <a:pt x="5471" y="6508"/>
                  </a:cubicBezTo>
                  <a:cubicBezTo>
                    <a:pt x="4955" y="5170"/>
                    <a:pt x="4256" y="3894"/>
                    <a:pt x="3405" y="2739"/>
                  </a:cubicBezTo>
                  <a:cubicBezTo>
                    <a:pt x="1965" y="858"/>
                    <a:pt x="752" y="0"/>
                    <a:pt x="618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2" name="Google Shape;310;g191abe3b490_12_4485"/>
            <p:cNvSpPr/>
            <p:nvPr/>
          </p:nvSpPr>
          <p:spPr>
            <a:xfrm>
              <a:off x="2214600" y="2491975"/>
              <a:ext cx="510675" cy="367800"/>
            </a:xfrm>
            <a:custGeom>
              <a:avLst/>
              <a:ahLst/>
              <a:rect l="l" t="t" r="r" b="b"/>
              <a:pathLst>
                <a:path w="20427" h="14712" extrusionOk="0">
                  <a:moveTo>
                    <a:pt x="19271" y="0"/>
                  </a:moveTo>
                  <a:lnTo>
                    <a:pt x="0" y="1733"/>
                  </a:lnTo>
                  <a:lnTo>
                    <a:pt x="1155" y="14712"/>
                  </a:lnTo>
                  <a:lnTo>
                    <a:pt x="20426" y="12979"/>
                  </a:lnTo>
                  <a:lnTo>
                    <a:pt x="19271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3" name="Google Shape;311;g191abe3b490_12_4485"/>
            <p:cNvSpPr/>
            <p:nvPr/>
          </p:nvSpPr>
          <p:spPr>
            <a:xfrm>
              <a:off x="2214600" y="2492575"/>
              <a:ext cx="481025" cy="219775"/>
            </a:xfrm>
            <a:custGeom>
              <a:avLst/>
              <a:ahLst/>
              <a:rect l="l" t="t" r="r" b="b"/>
              <a:pathLst>
                <a:path w="19241" h="8791" extrusionOk="0">
                  <a:moveTo>
                    <a:pt x="19237" y="1"/>
                  </a:moveTo>
                  <a:cubicBezTo>
                    <a:pt x="19224" y="1"/>
                    <a:pt x="19167" y="76"/>
                    <a:pt x="19089" y="128"/>
                  </a:cubicBezTo>
                  <a:lnTo>
                    <a:pt x="18572" y="645"/>
                  </a:lnTo>
                  <a:lnTo>
                    <a:pt x="16657" y="2469"/>
                  </a:lnTo>
                  <a:lnTo>
                    <a:pt x="10532" y="8563"/>
                  </a:lnTo>
                  <a:lnTo>
                    <a:pt x="10532" y="8563"/>
                  </a:lnTo>
                  <a:lnTo>
                    <a:pt x="10456" y="8517"/>
                  </a:lnTo>
                  <a:lnTo>
                    <a:pt x="3070" y="3654"/>
                  </a:lnTo>
                  <a:lnTo>
                    <a:pt x="821" y="2195"/>
                  </a:lnTo>
                  <a:lnTo>
                    <a:pt x="213" y="1830"/>
                  </a:lnTo>
                  <a:cubicBezTo>
                    <a:pt x="152" y="1770"/>
                    <a:pt x="61" y="1739"/>
                    <a:pt x="0" y="1709"/>
                  </a:cubicBezTo>
                  <a:lnTo>
                    <a:pt x="0" y="1709"/>
                  </a:lnTo>
                  <a:cubicBezTo>
                    <a:pt x="61" y="1770"/>
                    <a:pt x="122" y="1800"/>
                    <a:pt x="213" y="1861"/>
                  </a:cubicBezTo>
                  <a:lnTo>
                    <a:pt x="791" y="2286"/>
                  </a:lnTo>
                  <a:lnTo>
                    <a:pt x="3009" y="3776"/>
                  </a:lnTo>
                  <a:lnTo>
                    <a:pt x="10365" y="8669"/>
                  </a:lnTo>
                  <a:lnTo>
                    <a:pt x="10487" y="8761"/>
                  </a:lnTo>
                  <a:lnTo>
                    <a:pt x="10548" y="8791"/>
                  </a:lnTo>
                  <a:lnTo>
                    <a:pt x="10608" y="8761"/>
                  </a:lnTo>
                  <a:lnTo>
                    <a:pt x="16748" y="2590"/>
                  </a:lnTo>
                  <a:cubicBezTo>
                    <a:pt x="17508" y="1800"/>
                    <a:pt x="18146" y="1162"/>
                    <a:pt x="18602" y="706"/>
                  </a:cubicBezTo>
                  <a:cubicBezTo>
                    <a:pt x="18785" y="493"/>
                    <a:pt x="18967" y="311"/>
                    <a:pt x="19089" y="189"/>
                  </a:cubicBezTo>
                  <a:cubicBezTo>
                    <a:pt x="19150" y="128"/>
                    <a:pt x="19210" y="67"/>
                    <a:pt x="19241" y="7"/>
                  </a:cubicBezTo>
                  <a:cubicBezTo>
                    <a:pt x="19241" y="2"/>
                    <a:pt x="19240" y="1"/>
                    <a:pt x="19237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4" name="Google Shape;312;g191abe3b490_12_4485"/>
            <p:cNvSpPr/>
            <p:nvPr/>
          </p:nvSpPr>
          <p:spPr>
            <a:xfrm>
              <a:off x="2242700" y="2649250"/>
              <a:ext cx="149725" cy="210550"/>
            </a:xfrm>
            <a:custGeom>
              <a:avLst/>
              <a:ahLst/>
              <a:rect l="l" t="t" r="r" b="b"/>
              <a:pathLst>
                <a:path w="5989" h="8422" extrusionOk="0">
                  <a:moveTo>
                    <a:pt x="5957" y="1"/>
                  </a:moveTo>
                  <a:cubicBezTo>
                    <a:pt x="5875" y="1"/>
                    <a:pt x="4517" y="1844"/>
                    <a:pt x="2919" y="4165"/>
                  </a:cubicBezTo>
                  <a:cubicBezTo>
                    <a:pt x="1277" y="6475"/>
                    <a:pt x="1" y="8390"/>
                    <a:pt x="31" y="8421"/>
                  </a:cubicBezTo>
                  <a:cubicBezTo>
                    <a:pt x="32" y="8421"/>
                    <a:pt x="32" y="8421"/>
                    <a:pt x="32" y="8421"/>
                  </a:cubicBezTo>
                  <a:cubicBezTo>
                    <a:pt x="83" y="8421"/>
                    <a:pt x="1443" y="6548"/>
                    <a:pt x="3071" y="4256"/>
                  </a:cubicBezTo>
                  <a:cubicBezTo>
                    <a:pt x="4712" y="1916"/>
                    <a:pt x="5989" y="1"/>
                    <a:pt x="5958" y="1"/>
                  </a:cubicBezTo>
                  <a:cubicBezTo>
                    <a:pt x="5958" y="1"/>
                    <a:pt x="5957" y="1"/>
                    <a:pt x="5957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5" name="Google Shape;313;g191abe3b490_12_4485"/>
            <p:cNvSpPr/>
            <p:nvPr/>
          </p:nvSpPr>
          <p:spPr>
            <a:xfrm>
              <a:off x="2549700" y="2631025"/>
              <a:ext cx="175575" cy="186250"/>
            </a:xfrm>
            <a:custGeom>
              <a:avLst/>
              <a:ahLst/>
              <a:rect l="l" t="t" r="r" b="b"/>
              <a:pathLst>
                <a:path w="7023" h="7450" extrusionOk="0">
                  <a:moveTo>
                    <a:pt x="32" y="0"/>
                  </a:moveTo>
                  <a:cubicBezTo>
                    <a:pt x="32" y="0"/>
                    <a:pt x="31" y="0"/>
                    <a:pt x="31" y="1"/>
                  </a:cubicBezTo>
                  <a:cubicBezTo>
                    <a:pt x="1" y="31"/>
                    <a:pt x="1521" y="1733"/>
                    <a:pt x="3466" y="3770"/>
                  </a:cubicBezTo>
                  <a:cubicBezTo>
                    <a:pt x="5347" y="5800"/>
                    <a:pt x="6905" y="7449"/>
                    <a:pt x="6989" y="7449"/>
                  </a:cubicBezTo>
                  <a:cubicBezTo>
                    <a:pt x="6990" y="7449"/>
                    <a:pt x="6991" y="7449"/>
                    <a:pt x="6992" y="7448"/>
                  </a:cubicBezTo>
                  <a:cubicBezTo>
                    <a:pt x="7022" y="7387"/>
                    <a:pt x="5502" y="5715"/>
                    <a:pt x="3587" y="3648"/>
                  </a:cubicBezTo>
                  <a:cubicBezTo>
                    <a:pt x="1690" y="1600"/>
                    <a:pt x="91" y="0"/>
                    <a:pt x="32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6" name="Google Shape;314;g191abe3b490_12_4485"/>
            <p:cNvSpPr/>
            <p:nvPr/>
          </p:nvSpPr>
          <p:spPr>
            <a:xfrm>
              <a:off x="3308850" y="2305025"/>
              <a:ext cx="628450" cy="607725"/>
            </a:xfrm>
            <a:custGeom>
              <a:avLst/>
              <a:ahLst/>
              <a:rect l="l" t="t" r="r" b="b"/>
              <a:pathLst>
                <a:path w="25138" h="24309" extrusionOk="0">
                  <a:moveTo>
                    <a:pt x="8967" y="1"/>
                  </a:moveTo>
                  <a:lnTo>
                    <a:pt x="1185" y="4074"/>
                  </a:lnTo>
                  <a:cubicBezTo>
                    <a:pt x="334" y="4530"/>
                    <a:pt x="0" y="5563"/>
                    <a:pt x="456" y="6414"/>
                  </a:cubicBezTo>
                  <a:lnTo>
                    <a:pt x="9392" y="23375"/>
                  </a:lnTo>
                  <a:cubicBezTo>
                    <a:pt x="9688" y="23967"/>
                    <a:pt x="10293" y="24309"/>
                    <a:pt x="10920" y="24309"/>
                  </a:cubicBezTo>
                  <a:cubicBezTo>
                    <a:pt x="11195" y="24309"/>
                    <a:pt x="11474" y="24243"/>
                    <a:pt x="11733" y="24105"/>
                  </a:cubicBezTo>
                  <a:lnTo>
                    <a:pt x="23982" y="17661"/>
                  </a:lnTo>
                  <a:cubicBezTo>
                    <a:pt x="24833" y="17205"/>
                    <a:pt x="25137" y="16171"/>
                    <a:pt x="24712" y="15320"/>
                  </a:cubicBezTo>
                  <a:lnTo>
                    <a:pt x="18237" y="3040"/>
                  </a:lnTo>
                  <a:lnTo>
                    <a:pt x="8967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7" name="Google Shape;315;g191abe3b490_12_4485"/>
            <p:cNvSpPr/>
            <p:nvPr/>
          </p:nvSpPr>
          <p:spPr>
            <a:xfrm>
              <a:off x="3533000" y="2304275"/>
              <a:ext cx="231800" cy="141125"/>
            </a:xfrm>
            <a:custGeom>
              <a:avLst/>
              <a:ahLst/>
              <a:rect l="l" t="t" r="r" b="b"/>
              <a:pathLst>
                <a:path w="9272" h="5645" extrusionOk="0">
                  <a:moveTo>
                    <a:pt x="1" y="1"/>
                  </a:moveTo>
                  <a:lnTo>
                    <a:pt x="2524" y="4773"/>
                  </a:lnTo>
                  <a:cubicBezTo>
                    <a:pt x="2802" y="5329"/>
                    <a:pt x="3366" y="5644"/>
                    <a:pt x="3952" y="5644"/>
                  </a:cubicBezTo>
                  <a:cubicBezTo>
                    <a:pt x="4198" y="5644"/>
                    <a:pt x="4448" y="5589"/>
                    <a:pt x="4682" y="5472"/>
                  </a:cubicBezTo>
                  <a:lnTo>
                    <a:pt x="9271" y="30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8" name="Google Shape;316;g191abe3b490_12_4485"/>
            <p:cNvSpPr/>
            <p:nvPr/>
          </p:nvSpPr>
          <p:spPr>
            <a:xfrm>
              <a:off x="3602925" y="2380275"/>
              <a:ext cx="180100" cy="76750"/>
            </a:xfrm>
            <a:custGeom>
              <a:avLst/>
              <a:ahLst/>
              <a:rect l="l" t="t" r="r" b="b"/>
              <a:pathLst>
                <a:path w="7204" h="3070" extrusionOk="0">
                  <a:moveTo>
                    <a:pt x="6505" y="0"/>
                  </a:moveTo>
                  <a:lnTo>
                    <a:pt x="1915" y="2401"/>
                  </a:lnTo>
                  <a:cubicBezTo>
                    <a:pt x="1915" y="2401"/>
                    <a:pt x="1522" y="2593"/>
                    <a:pt x="1049" y="2593"/>
                  </a:cubicBezTo>
                  <a:cubicBezTo>
                    <a:pt x="701" y="2593"/>
                    <a:pt x="310" y="2489"/>
                    <a:pt x="0" y="2128"/>
                  </a:cubicBezTo>
                  <a:lnTo>
                    <a:pt x="0" y="2128"/>
                  </a:lnTo>
                  <a:cubicBezTo>
                    <a:pt x="320" y="2718"/>
                    <a:pt x="938" y="3069"/>
                    <a:pt x="1597" y="3069"/>
                  </a:cubicBezTo>
                  <a:cubicBezTo>
                    <a:pt x="1753" y="3069"/>
                    <a:pt x="1910" y="3050"/>
                    <a:pt x="2067" y="3009"/>
                  </a:cubicBezTo>
                  <a:lnTo>
                    <a:pt x="2219" y="2948"/>
                  </a:lnTo>
                  <a:cubicBezTo>
                    <a:pt x="2888" y="2736"/>
                    <a:pt x="7204" y="1368"/>
                    <a:pt x="7174" y="1277"/>
                  </a:cubicBezTo>
                  <a:cubicBezTo>
                    <a:pt x="7143" y="1186"/>
                    <a:pt x="6505" y="0"/>
                    <a:pt x="6505" y="0"/>
                  </a:cubicBezTo>
                  <a:close/>
                </a:path>
              </a:pathLst>
            </a:custGeom>
            <a:solidFill>
              <a:srgbClr val="203E80">
                <a:alpha val="64709"/>
              </a:srgbClr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39" name="Google Shape;317;g191abe3b490_12_4485"/>
            <p:cNvSpPr/>
            <p:nvPr/>
          </p:nvSpPr>
          <p:spPr>
            <a:xfrm>
              <a:off x="3533000" y="2304275"/>
              <a:ext cx="231800" cy="141125"/>
            </a:xfrm>
            <a:custGeom>
              <a:avLst/>
              <a:ahLst/>
              <a:rect l="l" t="t" r="r" b="b"/>
              <a:pathLst>
                <a:path w="9272" h="5645" extrusionOk="0">
                  <a:moveTo>
                    <a:pt x="1" y="1"/>
                  </a:moveTo>
                  <a:lnTo>
                    <a:pt x="2524" y="4773"/>
                  </a:lnTo>
                  <a:cubicBezTo>
                    <a:pt x="2802" y="5329"/>
                    <a:pt x="3366" y="5644"/>
                    <a:pt x="3952" y="5644"/>
                  </a:cubicBezTo>
                  <a:cubicBezTo>
                    <a:pt x="4198" y="5644"/>
                    <a:pt x="4448" y="5589"/>
                    <a:pt x="4682" y="5472"/>
                  </a:cubicBezTo>
                  <a:lnTo>
                    <a:pt x="9271" y="30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0" name="Google Shape;318;g191abe3b490_12_4485"/>
            <p:cNvSpPr/>
            <p:nvPr/>
          </p:nvSpPr>
          <p:spPr>
            <a:xfrm>
              <a:off x="3425100" y="2432575"/>
              <a:ext cx="142875" cy="74725"/>
            </a:xfrm>
            <a:custGeom>
              <a:avLst/>
              <a:ahLst/>
              <a:rect l="l" t="t" r="r" b="b"/>
              <a:pathLst>
                <a:path w="5715" h="2989" extrusionOk="0">
                  <a:moveTo>
                    <a:pt x="5672" y="1"/>
                  </a:moveTo>
                  <a:cubicBezTo>
                    <a:pt x="5530" y="1"/>
                    <a:pt x="4301" y="563"/>
                    <a:pt x="2797" y="1373"/>
                  </a:cubicBezTo>
                  <a:cubicBezTo>
                    <a:pt x="1247" y="2224"/>
                    <a:pt x="1" y="2923"/>
                    <a:pt x="31" y="2984"/>
                  </a:cubicBezTo>
                  <a:cubicBezTo>
                    <a:pt x="32" y="2987"/>
                    <a:pt x="36" y="2988"/>
                    <a:pt x="43" y="2988"/>
                  </a:cubicBezTo>
                  <a:cubicBezTo>
                    <a:pt x="180" y="2988"/>
                    <a:pt x="1411" y="2398"/>
                    <a:pt x="2919" y="1586"/>
                  </a:cubicBezTo>
                  <a:cubicBezTo>
                    <a:pt x="4469" y="765"/>
                    <a:pt x="5715" y="66"/>
                    <a:pt x="5685" y="5"/>
                  </a:cubicBezTo>
                  <a:cubicBezTo>
                    <a:pt x="5683" y="2"/>
                    <a:pt x="5679" y="1"/>
                    <a:pt x="5672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1" name="Google Shape;319;g191abe3b490_12_4485"/>
            <p:cNvSpPr/>
            <p:nvPr/>
          </p:nvSpPr>
          <p:spPr>
            <a:xfrm>
              <a:off x="3460050" y="2451625"/>
              <a:ext cx="235600" cy="123250"/>
            </a:xfrm>
            <a:custGeom>
              <a:avLst/>
              <a:ahLst/>
              <a:rect l="l" t="t" r="r" b="b"/>
              <a:pathLst>
                <a:path w="9424" h="4930" extrusionOk="0">
                  <a:moveTo>
                    <a:pt x="9386" y="1"/>
                  </a:moveTo>
                  <a:cubicBezTo>
                    <a:pt x="9246" y="1"/>
                    <a:pt x="7164" y="1043"/>
                    <a:pt x="4651" y="2344"/>
                  </a:cubicBezTo>
                  <a:cubicBezTo>
                    <a:pt x="2068" y="3712"/>
                    <a:pt x="1" y="4867"/>
                    <a:pt x="31" y="4927"/>
                  </a:cubicBezTo>
                  <a:cubicBezTo>
                    <a:pt x="32" y="4929"/>
                    <a:pt x="34" y="4930"/>
                    <a:pt x="38" y="4930"/>
                  </a:cubicBezTo>
                  <a:cubicBezTo>
                    <a:pt x="178" y="4930"/>
                    <a:pt x="2260" y="3888"/>
                    <a:pt x="4773" y="2587"/>
                  </a:cubicBezTo>
                  <a:cubicBezTo>
                    <a:pt x="7357" y="1219"/>
                    <a:pt x="9423" y="64"/>
                    <a:pt x="9393" y="3"/>
                  </a:cubicBezTo>
                  <a:cubicBezTo>
                    <a:pt x="9392" y="2"/>
                    <a:pt x="9390" y="1"/>
                    <a:pt x="9386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2" name="Google Shape;320;g191abe3b490_12_4485"/>
            <p:cNvSpPr/>
            <p:nvPr/>
          </p:nvSpPr>
          <p:spPr>
            <a:xfrm>
              <a:off x="3489700" y="2497225"/>
              <a:ext cx="256100" cy="133875"/>
            </a:xfrm>
            <a:custGeom>
              <a:avLst/>
              <a:ahLst/>
              <a:rect l="l" t="t" r="r" b="b"/>
              <a:pathLst>
                <a:path w="10244" h="5355" extrusionOk="0">
                  <a:moveTo>
                    <a:pt x="10207" y="1"/>
                  </a:moveTo>
                  <a:cubicBezTo>
                    <a:pt x="10066" y="1"/>
                    <a:pt x="7802" y="1134"/>
                    <a:pt x="5076" y="2556"/>
                  </a:cubicBezTo>
                  <a:cubicBezTo>
                    <a:pt x="2250" y="4046"/>
                    <a:pt x="0" y="5292"/>
                    <a:pt x="31" y="5353"/>
                  </a:cubicBezTo>
                  <a:cubicBezTo>
                    <a:pt x="31" y="5354"/>
                    <a:pt x="34" y="5355"/>
                    <a:pt x="37" y="5355"/>
                  </a:cubicBezTo>
                  <a:cubicBezTo>
                    <a:pt x="178" y="5355"/>
                    <a:pt x="2442" y="4222"/>
                    <a:pt x="5198" y="2799"/>
                  </a:cubicBezTo>
                  <a:cubicBezTo>
                    <a:pt x="7994" y="1310"/>
                    <a:pt x="10244" y="64"/>
                    <a:pt x="10213" y="3"/>
                  </a:cubicBezTo>
                  <a:cubicBezTo>
                    <a:pt x="10212" y="1"/>
                    <a:pt x="10210" y="1"/>
                    <a:pt x="1020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3" name="Google Shape;321;g191abe3b490_12_4485"/>
            <p:cNvSpPr/>
            <p:nvPr/>
          </p:nvSpPr>
          <p:spPr>
            <a:xfrm>
              <a:off x="3517800" y="2550425"/>
              <a:ext cx="256125" cy="133875"/>
            </a:xfrm>
            <a:custGeom>
              <a:avLst/>
              <a:ahLst/>
              <a:rect l="l" t="t" r="r" b="b"/>
              <a:pathLst>
                <a:path w="10245" h="5355" extrusionOk="0">
                  <a:moveTo>
                    <a:pt x="10207" y="0"/>
                  </a:moveTo>
                  <a:cubicBezTo>
                    <a:pt x="10067" y="0"/>
                    <a:pt x="7803" y="1134"/>
                    <a:pt x="5077" y="2556"/>
                  </a:cubicBezTo>
                  <a:cubicBezTo>
                    <a:pt x="2250" y="4045"/>
                    <a:pt x="1" y="5292"/>
                    <a:pt x="31" y="5352"/>
                  </a:cubicBezTo>
                  <a:cubicBezTo>
                    <a:pt x="32" y="5354"/>
                    <a:pt x="34" y="5355"/>
                    <a:pt x="38" y="5355"/>
                  </a:cubicBezTo>
                  <a:cubicBezTo>
                    <a:pt x="179" y="5355"/>
                    <a:pt x="2443" y="4221"/>
                    <a:pt x="5199" y="2799"/>
                  </a:cubicBezTo>
                  <a:cubicBezTo>
                    <a:pt x="7995" y="1310"/>
                    <a:pt x="10244" y="63"/>
                    <a:pt x="10214" y="3"/>
                  </a:cubicBezTo>
                  <a:cubicBezTo>
                    <a:pt x="10213" y="1"/>
                    <a:pt x="10211" y="0"/>
                    <a:pt x="1020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4" name="Google Shape;322;g191abe3b490_12_4485"/>
            <p:cNvSpPr/>
            <p:nvPr/>
          </p:nvSpPr>
          <p:spPr>
            <a:xfrm>
              <a:off x="3545925" y="2603625"/>
              <a:ext cx="256100" cy="133875"/>
            </a:xfrm>
            <a:custGeom>
              <a:avLst/>
              <a:ahLst/>
              <a:rect l="l" t="t" r="r" b="b"/>
              <a:pathLst>
                <a:path w="10244" h="5355" extrusionOk="0">
                  <a:moveTo>
                    <a:pt x="10207" y="0"/>
                  </a:moveTo>
                  <a:cubicBezTo>
                    <a:pt x="10063" y="0"/>
                    <a:pt x="7801" y="1105"/>
                    <a:pt x="5077" y="2556"/>
                  </a:cubicBezTo>
                  <a:cubicBezTo>
                    <a:pt x="2250" y="4045"/>
                    <a:pt x="1" y="5291"/>
                    <a:pt x="31" y="5352"/>
                  </a:cubicBezTo>
                  <a:cubicBezTo>
                    <a:pt x="32" y="5354"/>
                    <a:pt x="34" y="5354"/>
                    <a:pt x="38" y="5354"/>
                  </a:cubicBezTo>
                  <a:cubicBezTo>
                    <a:pt x="178" y="5354"/>
                    <a:pt x="2442" y="4221"/>
                    <a:pt x="5168" y="2799"/>
                  </a:cubicBezTo>
                  <a:cubicBezTo>
                    <a:pt x="7995" y="1309"/>
                    <a:pt x="10244" y="63"/>
                    <a:pt x="10213" y="2"/>
                  </a:cubicBezTo>
                  <a:cubicBezTo>
                    <a:pt x="10213" y="1"/>
                    <a:pt x="10210" y="0"/>
                    <a:pt x="1020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5" name="Google Shape;323;g191abe3b490_12_4485"/>
            <p:cNvSpPr/>
            <p:nvPr/>
          </p:nvSpPr>
          <p:spPr>
            <a:xfrm>
              <a:off x="3574050" y="2656800"/>
              <a:ext cx="256100" cy="133875"/>
            </a:xfrm>
            <a:custGeom>
              <a:avLst/>
              <a:ahLst/>
              <a:rect l="l" t="t" r="r" b="b"/>
              <a:pathLst>
                <a:path w="10244" h="5355" extrusionOk="0">
                  <a:moveTo>
                    <a:pt x="10206" y="1"/>
                  </a:moveTo>
                  <a:cubicBezTo>
                    <a:pt x="10063" y="1"/>
                    <a:pt x="7799" y="1105"/>
                    <a:pt x="5046" y="2556"/>
                  </a:cubicBezTo>
                  <a:cubicBezTo>
                    <a:pt x="2249" y="4046"/>
                    <a:pt x="0" y="5292"/>
                    <a:pt x="31" y="5353"/>
                  </a:cubicBezTo>
                  <a:cubicBezTo>
                    <a:pt x="31" y="5354"/>
                    <a:pt x="34" y="5355"/>
                    <a:pt x="37" y="5355"/>
                  </a:cubicBezTo>
                  <a:cubicBezTo>
                    <a:pt x="178" y="5355"/>
                    <a:pt x="2442" y="4222"/>
                    <a:pt x="5167" y="2799"/>
                  </a:cubicBezTo>
                  <a:cubicBezTo>
                    <a:pt x="7994" y="1310"/>
                    <a:pt x="10243" y="64"/>
                    <a:pt x="10213" y="3"/>
                  </a:cubicBezTo>
                  <a:cubicBezTo>
                    <a:pt x="10212" y="1"/>
                    <a:pt x="10210" y="1"/>
                    <a:pt x="10206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6" name="Google Shape;324;g191abe3b490_12_4485"/>
            <p:cNvSpPr/>
            <p:nvPr/>
          </p:nvSpPr>
          <p:spPr>
            <a:xfrm>
              <a:off x="2731325" y="3077850"/>
              <a:ext cx="57000" cy="49400"/>
            </a:xfrm>
            <a:custGeom>
              <a:avLst/>
              <a:ahLst/>
              <a:rect l="l" t="t" r="r" b="b"/>
              <a:pathLst>
                <a:path w="2280" h="1976" extrusionOk="0">
                  <a:moveTo>
                    <a:pt x="547" y="0"/>
                  </a:moveTo>
                  <a:lnTo>
                    <a:pt x="0" y="1125"/>
                  </a:lnTo>
                  <a:lnTo>
                    <a:pt x="1733" y="1976"/>
                  </a:lnTo>
                  <a:lnTo>
                    <a:pt x="2280" y="882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7" name="Google Shape;325;g191abe3b490_12_4485"/>
            <p:cNvSpPr/>
            <p:nvPr/>
          </p:nvSpPr>
          <p:spPr>
            <a:xfrm>
              <a:off x="2690275" y="3045925"/>
              <a:ext cx="75275" cy="80575"/>
            </a:xfrm>
            <a:custGeom>
              <a:avLst/>
              <a:ahLst/>
              <a:rect l="l" t="t" r="r" b="b"/>
              <a:pathLst>
                <a:path w="3011" h="3223" extrusionOk="0">
                  <a:moveTo>
                    <a:pt x="1126" y="1"/>
                  </a:moveTo>
                  <a:cubicBezTo>
                    <a:pt x="548" y="639"/>
                    <a:pt x="153" y="1429"/>
                    <a:pt x="1" y="2280"/>
                  </a:cubicBezTo>
                  <a:lnTo>
                    <a:pt x="1855" y="3223"/>
                  </a:lnTo>
                  <a:lnTo>
                    <a:pt x="3010" y="943"/>
                  </a:lnTo>
                  <a:lnTo>
                    <a:pt x="1126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8" name="Google Shape;326;g191abe3b490_12_4485"/>
            <p:cNvSpPr/>
            <p:nvPr/>
          </p:nvSpPr>
          <p:spPr>
            <a:xfrm>
              <a:off x="2692575" y="3093050"/>
              <a:ext cx="48650" cy="24325"/>
            </a:xfrm>
            <a:custGeom>
              <a:avLst/>
              <a:ahLst/>
              <a:rect l="l" t="t" r="r" b="b"/>
              <a:pathLst>
                <a:path w="1946" h="973" extrusionOk="0">
                  <a:moveTo>
                    <a:pt x="0" y="0"/>
                  </a:moveTo>
                  <a:cubicBezTo>
                    <a:pt x="304" y="213"/>
                    <a:pt x="608" y="395"/>
                    <a:pt x="942" y="547"/>
                  </a:cubicBezTo>
                  <a:cubicBezTo>
                    <a:pt x="1246" y="730"/>
                    <a:pt x="1611" y="882"/>
                    <a:pt x="1945" y="973"/>
                  </a:cubicBezTo>
                  <a:cubicBezTo>
                    <a:pt x="1672" y="730"/>
                    <a:pt x="1338" y="547"/>
                    <a:pt x="1003" y="426"/>
                  </a:cubicBezTo>
                  <a:cubicBezTo>
                    <a:pt x="699" y="243"/>
                    <a:pt x="365" y="9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49" name="Google Shape;327;g191abe3b490_12_4485"/>
            <p:cNvSpPr/>
            <p:nvPr/>
          </p:nvSpPr>
          <p:spPr>
            <a:xfrm>
              <a:off x="2697875" y="3080125"/>
              <a:ext cx="48675" cy="25850"/>
            </a:xfrm>
            <a:custGeom>
              <a:avLst/>
              <a:ahLst/>
              <a:rect l="l" t="t" r="r" b="b"/>
              <a:pathLst>
                <a:path w="1947" h="1034" extrusionOk="0">
                  <a:moveTo>
                    <a:pt x="1" y="0"/>
                  </a:moveTo>
                  <a:cubicBezTo>
                    <a:pt x="274" y="244"/>
                    <a:pt x="609" y="426"/>
                    <a:pt x="943" y="578"/>
                  </a:cubicBezTo>
                  <a:cubicBezTo>
                    <a:pt x="1247" y="791"/>
                    <a:pt x="1612" y="943"/>
                    <a:pt x="1946" y="1034"/>
                  </a:cubicBezTo>
                  <a:cubicBezTo>
                    <a:pt x="1673" y="791"/>
                    <a:pt x="1338" y="608"/>
                    <a:pt x="1004" y="456"/>
                  </a:cubicBezTo>
                  <a:cubicBezTo>
                    <a:pt x="700" y="244"/>
                    <a:pt x="335" y="92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0" name="Google Shape;328;g191abe3b490_12_4485"/>
            <p:cNvSpPr/>
            <p:nvPr/>
          </p:nvSpPr>
          <p:spPr>
            <a:xfrm>
              <a:off x="2704725" y="3064925"/>
              <a:ext cx="49425" cy="26625"/>
            </a:xfrm>
            <a:custGeom>
              <a:avLst/>
              <a:ahLst/>
              <a:rect l="l" t="t" r="r" b="b"/>
              <a:pathLst>
                <a:path w="1977" h="1065" extrusionOk="0">
                  <a:moveTo>
                    <a:pt x="0" y="0"/>
                  </a:moveTo>
                  <a:lnTo>
                    <a:pt x="0" y="0"/>
                  </a:lnTo>
                  <a:cubicBezTo>
                    <a:pt x="274" y="244"/>
                    <a:pt x="608" y="426"/>
                    <a:pt x="943" y="608"/>
                  </a:cubicBezTo>
                  <a:cubicBezTo>
                    <a:pt x="1277" y="791"/>
                    <a:pt x="1611" y="943"/>
                    <a:pt x="1976" y="1064"/>
                  </a:cubicBezTo>
                  <a:cubicBezTo>
                    <a:pt x="1672" y="821"/>
                    <a:pt x="1368" y="639"/>
                    <a:pt x="1034" y="456"/>
                  </a:cubicBezTo>
                  <a:cubicBezTo>
                    <a:pt x="700" y="274"/>
                    <a:pt x="365" y="122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1" name="Google Shape;329;g191abe3b490_12_4485"/>
            <p:cNvSpPr/>
            <p:nvPr/>
          </p:nvSpPr>
          <p:spPr>
            <a:xfrm>
              <a:off x="2712325" y="3053525"/>
              <a:ext cx="48650" cy="24350"/>
            </a:xfrm>
            <a:custGeom>
              <a:avLst/>
              <a:ahLst/>
              <a:rect l="l" t="t" r="r" b="b"/>
              <a:pathLst>
                <a:path w="1946" h="974" extrusionOk="0">
                  <a:moveTo>
                    <a:pt x="0" y="1"/>
                  </a:moveTo>
                  <a:cubicBezTo>
                    <a:pt x="274" y="213"/>
                    <a:pt x="578" y="426"/>
                    <a:pt x="943" y="548"/>
                  </a:cubicBezTo>
                  <a:cubicBezTo>
                    <a:pt x="1247" y="760"/>
                    <a:pt x="1581" y="882"/>
                    <a:pt x="1946" y="973"/>
                  </a:cubicBezTo>
                  <a:cubicBezTo>
                    <a:pt x="1642" y="760"/>
                    <a:pt x="1338" y="578"/>
                    <a:pt x="1003" y="426"/>
                  </a:cubicBezTo>
                  <a:cubicBezTo>
                    <a:pt x="669" y="244"/>
                    <a:pt x="335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2" name="Google Shape;330;g191abe3b490_12_4485"/>
            <p:cNvSpPr/>
            <p:nvPr/>
          </p:nvSpPr>
          <p:spPr>
            <a:xfrm>
              <a:off x="3093025" y="2930425"/>
              <a:ext cx="47900" cy="57025"/>
            </a:xfrm>
            <a:custGeom>
              <a:avLst/>
              <a:ahLst/>
              <a:rect l="l" t="t" r="r" b="b"/>
              <a:pathLst>
                <a:path w="1916" h="2281" extrusionOk="0">
                  <a:moveTo>
                    <a:pt x="761" y="0"/>
                  </a:moveTo>
                  <a:lnTo>
                    <a:pt x="1" y="1794"/>
                  </a:lnTo>
                  <a:lnTo>
                    <a:pt x="1125" y="2280"/>
                  </a:lnTo>
                  <a:lnTo>
                    <a:pt x="1916" y="487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3" name="Google Shape;331;g191abe3b490_12_4485"/>
            <p:cNvSpPr/>
            <p:nvPr/>
          </p:nvSpPr>
          <p:spPr>
            <a:xfrm>
              <a:off x="3091500" y="2890150"/>
              <a:ext cx="79075" cy="72975"/>
            </a:xfrm>
            <a:custGeom>
              <a:avLst/>
              <a:ahLst/>
              <a:rect l="l" t="t" r="r" b="b"/>
              <a:pathLst>
                <a:path w="3163" h="2919" extrusionOk="0">
                  <a:moveTo>
                    <a:pt x="822" y="1"/>
                  </a:moveTo>
                  <a:lnTo>
                    <a:pt x="1" y="1885"/>
                  </a:lnTo>
                  <a:lnTo>
                    <a:pt x="2341" y="2918"/>
                  </a:lnTo>
                  <a:lnTo>
                    <a:pt x="3162" y="1004"/>
                  </a:lnTo>
                  <a:cubicBezTo>
                    <a:pt x="2493" y="456"/>
                    <a:pt x="1703" y="122"/>
                    <a:pt x="822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4" name="Google Shape;332;g191abe3b490_12_4485"/>
            <p:cNvSpPr/>
            <p:nvPr/>
          </p:nvSpPr>
          <p:spPr>
            <a:xfrm>
              <a:off x="3101400" y="2891675"/>
              <a:ext cx="21300" cy="50175"/>
            </a:xfrm>
            <a:custGeom>
              <a:avLst/>
              <a:ahLst/>
              <a:rect l="l" t="t" r="r" b="b"/>
              <a:pathLst>
                <a:path w="852" h="2007" extrusionOk="0">
                  <a:moveTo>
                    <a:pt x="851" y="0"/>
                  </a:moveTo>
                  <a:cubicBezTo>
                    <a:pt x="638" y="304"/>
                    <a:pt x="486" y="639"/>
                    <a:pt x="365" y="973"/>
                  </a:cubicBezTo>
                  <a:cubicBezTo>
                    <a:pt x="182" y="1307"/>
                    <a:pt x="61" y="1642"/>
                    <a:pt x="0" y="2006"/>
                  </a:cubicBezTo>
                  <a:cubicBezTo>
                    <a:pt x="213" y="1702"/>
                    <a:pt x="365" y="1368"/>
                    <a:pt x="486" y="1034"/>
                  </a:cubicBezTo>
                  <a:cubicBezTo>
                    <a:pt x="669" y="699"/>
                    <a:pt x="790" y="365"/>
                    <a:pt x="85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5" name="Google Shape;333;g191abe3b490_12_4485"/>
            <p:cNvSpPr/>
            <p:nvPr/>
          </p:nvSpPr>
          <p:spPr>
            <a:xfrm>
              <a:off x="3112025" y="2895475"/>
              <a:ext cx="23575" cy="50925"/>
            </a:xfrm>
            <a:custGeom>
              <a:avLst/>
              <a:ahLst/>
              <a:rect l="l" t="t" r="r" b="b"/>
              <a:pathLst>
                <a:path w="943" h="2037" extrusionOk="0">
                  <a:moveTo>
                    <a:pt x="943" y="0"/>
                  </a:moveTo>
                  <a:cubicBezTo>
                    <a:pt x="730" y="335"/>
                    <a:pt x="548" y="669"/>
                    <a:pt x="426" y="1003"/>
                  </a:cubicBezTo>
                  <a:cubicBezTo>
                    <a:pt x="244" y="1338"/>
                    <a:pt x="92" y="1672"/>
                    <a:pt x="1" y="2037"/>
                  </a:cubicBezTo>
                  <a:cubicBezTo>
                    <a:pt x="244" y="1733"/>
                    <a:pt x="426" y="1398"/>
                    <a:pt x="548" y="1064"/>
                  </a:cubicBezTo>
                  <a:cubicBezTo>
                    <a:pt x="730" y="730"/>
                    <a:pt x="882" y="395"/>
                    <a:pt x="94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6" name="Google Shape;334;g191abe3b490_12_4485"/>
            <p:cNvSpPr/>
            <p:nvPr/>
          </p:nvSpPr>
          <p:spPr>
            <a:xfrm>
              <a:off x="3127225" y="2902300"/>
              <a:ext cx="23575" cy="50950"/>
            </a:xfrm>
            <a:custGeom>
              <a:avLst/>
              <a:ahLst/>
              <a:rect l="l" t="t" r="r" b="b"/>
              <a:pathLst>
                <a:path w="943" h="2038" extrusionOk="0">
                  <a:moveTo>
                    <a:pt x="943" y="1"/>
                  </a:moveTo>
                  <a:lnTo>
                    <a:pt x="943" y="1"/>
                  </a:lnTo>
                  <a:cubicBezTo>
                    <a:pt x="730" y="305"/>
                    <a:pt x="548" y="639"/>
                    <a:pt x="426" y="974"/>
                  </a:cubicBezTo>
                  <a:cubicBezTo>
                    <a:pt x="244" y="1308"/>
                    <a:pt x="92" y="1673"/>
                    <a:pt x="0" y="2037"/>
                  </a:cubicBezTo>
                  <a:cubicBezTo>
                    <a:pt x="213" y="1733"/>
                    <a:pt x="396" y="1399"/>
                    <a:pt x="548" y="1034"/>
                  </a:cubicBezTo>
                  <a:cubicBezTo>
                    <a:pt x="730" y="700"/>
                    <a:pt x="882" y="366"/>
                    <a:pt x="94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7" name="Google Shape;335;g191abe3b490_12_4485"/>
            <p:cNvSpPr/>
            <p:nvPr/>
          </p:nvSpPr>
          <p:spPr>
            <a:xfrm>
              <a:off x="3140900" y="2909150"/>
              <a:ext cx="22075" cy="50175"/>
            </a:xfrm>
            <a:custGeom>
              <a:avLst/>
              <a:ahLst/>
              <a:rect l="l" t="t" r="r" b="b"/>
              <a:pathLst>
                <a:path w="883" h="2007" extrusionOk="0">
                  <a:moveTo>
                    <a:pt x="882" y="0"/>
                  </a:moveTo>
                  <a:cubicBezTo>
                    <a:pt x="487" y="639"/>
                    <a:pt x="213" y="1307"/>
                    <a:pt x="1" y="2007"/>
                  </a:cubicBezTo>
                  <a:cubicBezTo>
                    <a:pt x="213" y="1703"/>
                    <a:pt x="396" y="1368"/>
                    <a:pt x="517" y="1034"/>
                  </a:cubicBezTo>
                  <a:cubicBezTo>
                    <a:pt x="669" y="700"/>
                    <a:pt x="821" y="365"/>
                    <a:pt x="88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8" name="Google Shape;336;g191abe3b490_12_4485"/>
            <p:cNvSpPr/>
            <p:nvPr/>
          </p:nvSpPr>
          <p:spPr>
            <a:xfrm>
              <a:off x="2882550" y="2920550"/>
              <a:ext cx="56250" cy="66900"/>
            </a:xfrm>
            <a:custGeom>
              <a:avLst/>
              <a:ahLst/>
              <a:rect l="l" t="t" r="r" b="b"/>
              <a:pathLst>
                <a:path w="2250" h="2676" extrusionOk="0">
                  <a:moveTo>
                    <a:pt x="1368" y="0"/>
                  </a:moveTo>
                  <a:lnTo>
                    <a:pt x="0" y="547"/>
                  </a:lnTo>
                  <a:lnTo>
                    <a:pt x="882" y="2675"/>
                  </a:lnTo>
                  <a:lnTo>
                    <a:pt x="2249" y="2098"/>
                  </a:lnTo>
                  <a:lnTo>
                    <a:pt x="1368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59" name="Google Shape;337;g191abe3b490_12_4485"/>
            <p:cNvSpPr/>
            <p:nvPr/>
          </p:nvSpPr>
          <p:spPr>
            <a:xfrm>
              <a:off x="2847575" y="2871925"/>
              <a:ext cx="93500" cy="85875"/>
            </a:xfrm>
            <a:custGeom>
              <a:avLst/>
              <a:ahLst/>
              <a:rect l="l" t="t" r="r" b="b"/>
              <a:pathLst>
                <a:path w="3740" h="3435" extrusionOk="0">
                  <a:moveTo>
                    <a:pt x="2797" y="0"/>
                  </a:moveTo>
                  <a:cubicBezTo>
                    <a:pt x="1794" y="122"/>
                    <a:pt x="822" y="517"/>
                    <a:pt x="1" y="1155"/>
                  </a:cubicBezTo>
                  <a:lnTo>
                    <a:pt x="943" y="3435"/>
                  </a:lnTo>
                  <a:lnTo>
                    <a:pt x="3740" y="2280"/>
                  </a:lnTo>
                  <a:lnTo>
                    <a:pt x="2797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0" name="Google Shape;338;g191abe3b490_12_4485"/>
            <p:cNvSpPr/>
            <p:nvPr/>
          </p:nvSpPr>
          <p:spPr>
            <a:xfrm>
              <a:off x="2847575" y="2871925"/>
              <a:ext cx="70700" cy="29925"/>
            </a:xfrm>
            <a:custGeom>
              <a:avLst/>
              <a:ahLst/>
              <a:rect l="l" t="t" r="r" b="b"/>
              <a:pathLst>
                <a:path w="2828" h="1197" extrusionOk="0">
                  <a:moveTo>
                    <a:pt x="2828" y="0"/>
                  </a:moveTo>
                  <a:lnTo>
                    <a:pt x="2828" y="0"/>
                  </a:lnTo>
                  <a:cubicBezTo>
                    <a:pt x="2433" y="304"/>
                    <a:pt x="1977" y="578"/>
                    <a:pt x="1521" y="790"/>
                  </a:cubicBezTo>
                  <a:cubicBezTo>
                    <a:pt x="1034" y="973"/>
                    <a:pt x="518" y="1094"/>
                    <a:pt x="1" y="1185"/>
                  </a:cubicBezTo>
                  <a:cubicBezTo>
                    <a:pt x="93" y="1193"/>
                    <a:pt x="186" y="1197"/>
                    <a:pt x="277" y="1197"/>
                  </a:cubicBezTo>
                  <a:cubicBezTo>
                    <a:pt x="1272" y="1197"/>
                    <a:pt x="2215" y="751"/>
                    <a:pt x="282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1" name="Google Shape;339;g191abe3b490_12_4485"/>
            <p:cNvSpPr/>
            <p:nvPr/>
          </p:nvSpPr>
          <p:spPr>
            <a:xfrm>
              <a:off x="2874175" y="2899275"/>
              <a:ext cx="20550" cy="48650"/>
            </a:xfrm>
            <a:custGeom>
              <a:avLst/>
              <a:ahLst/>
              <a:rect l="l" t="t" r="r" b="b"/>
              <a:pathLst>
                <a:path w="822" h="1946" extrusionOk="0">
                  <a:moveTo>
                    <a:pt x="1" y="0"/>
                  </a:moveTo>
                  <a:lnTo>
                    <a:pt x="1" y="0"/>
                  </a:lnTo>
                  <a:cubicBezTo>
                    <a:pt x="61" y="335"/>
                    <a:pt x="183" y="669"/>
                    <a:pt x="335" y="1003"/>
                  </a:cubicBezTo>
                  <a:cubicBezTo>
                    <a:pt x="457" y="1338"/>
                    <a:pt x="609" y="1642"/>
                    <a:pt x="821" y="1946"/>
                  </a:cubicBezTo>
                  <a:cubicBezTo>
                    <a:pt x="761" y="1611"/>
                    <a:pt x="639" y="1246"/>
                    <a:pt x="487" y="943"/>
                  </a:cubicBezTo>
                  <a:cubicBezTo>
                    <a:pt x="365" y="608"/>
                    <a:pt x="213" y="27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2" name="Google Shape;340;g191abe3b490_12_4485"/>
            <p:cNvSpPr/>
            <p:nvPr/>
          </p:nvSpPr>
          <p:spPr>
            <a:xfrm>
              <a:off x="2887850" y="2893950"/>
              <a:ext cx="20550" cy="48650"/>
            </a:xfrm>
            <a:custGeom>
              <a:avLst/>
              <a:ahLst/>
              <a:rect l="l" t="t" r="r" b="b"/>
              <a:pathLst>
                <a:path w="822" h="1946" extrusionOk="0">
                  <a:moveTo>
                    <a:pt x="1" y="0"/>
                  </a:moveTo>
                  <a:lnTo>
                    <a:pt x="1" y="0"/>
                  </a:lnTo>
                  <a:cubicBezTo>
                    <a:pt x="62" y="335"/>
                    <a:pt x="153" y="669"/>
                    <a:pt x="335" y="1004"/>
                  </a:cubicBezTo>
                  <a:cubicBezTo>
                    <a:pt x="426" y="1338"/>
                    <a:pt x="609" y="1672"/>
                    <a:pt x="822" y="1946"/>
                  </a:cubicBezTo>
                  <a:cubicBezTo>
                    <a:pt x="730" y="1611"/>
                    <a:pt x="609" y="1277"/>
                    <a:pt x="457" y="943"/>
                  </a:cubicBezTo>
                  <a:cubicBezTo>
                    <a:pt x="335" y="608"/>
                    <a:pt x="183" y="27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3" name="Google Shape;341;g191abe3b490_12_4485"/>
            <p:cNvSpPr/>
            <p:nvPr/>
          </p:nvSpPr>
          <p:spPr>
            <a:xfrm>
              <a:off x="2900775" y="2887875"/>
              <a:ext cx="20550" cy="49425"/>
            </a:xfrm>
            <a:custGeom>
              <a:avLst/>
              <a:ahLst/>
              <a:rect l="l" t="t" r="r" b="b"/>
              <a:pathLst>
                <a:path w="822" h="1977" extrusionOk="0">
                  <a:moveTo>
                    <a:pt x="1" y="0"/>
                  </a:moveTo>
                  <a:lnTo>
                    <a:pt x="1" y="0"/>
                  </a:lnTo>
                  <a:cubicBezTo>
                    <a:pt x="61" y="365"/>
                    <a:pt x="183" y="699"/>
                    <a:pt x="335" y="1003"/>
                  </a:cubicBezTo>
                  <a:cubicBezTo>
                    <a:pt x="456" y="1338"/>
                    <a:pt x="608" y="1672"/>
                    <a:pt x="821" y="1976"/>
                  </a:cubicBezTo>
                  <a:cubicBezTo>
                    <a:pt x="760" y="1611"/>
                    <a:pt x="639" y="1277"/>
                    <a:pt x="487" y="943"/>
                  </a:cubicBezTo>
                  <a:cubicBezTo>
                    <a:pt x="365" y="608"/>
                    <a:pt x="213" y="30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4" name="Google Shape;342;g191abe3b490_12_4485"/>
            <p:cNvSpPr/>
            <p:nvPr/>
          </p:nvSpPr>
          <p:spPr>
            <a:xfrm>
              <a:off x="2909900" y="2879500"/>
              <a:ext cx="22050" cy="53225"/>
            </a:xfrm>
            <a:custGeom>
              <a:avLst/>
              <a:ahLst/>
              <a:rect l="l" t="t" r="r" b="b"/>
              <a:pathLst>
                <a:path w="882" h="2129" extrusionOk="0">
                  <a:moveTo>
                    <a:pt x="0" y="1"/>
                  </a:moveTo>
                  <a:cubicBezTo>
                    <a:pt x="91" y="366"/>
                    <a:pt x="213" y="730"/>
                    <a:pt x="365" y="1095"/>
                  </a:cubicBezTo>
                  <a:cubicBezTo>
                    <a:pt x="517" y="1460"/>
                    <a:pt x="669" y="1794"/>
                    <a:pt x="882" y="2129"/>
                  </a:cubicBezTo>
                  <a:cubicBezTo>
                    <a:pt x="821" y="1734"/>
                    <a:pt x="699" y="1369"/>
                    <a:pt x="517" y="1034"/>
                  </a:cubicBezTo>
                  <a:cubicBezTo>
                    <a:pt x="395" y="670"/>
                    <a:pt x="213" y="305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5" name="Google Shape;343;g191abe3b490_12_4485"/>
            <p:cNvSpPr/>
            <p:nvPr/>
          </p:nvSpPr>
          <p:spPr>
            <a:xfrm>
              <a:off x="2859750" y="2900025"/>
              <a:ext cx="22050" cy="53225"/>
            </a:xfrm>
            <a:custGeom>
              <a:avLst/>
              <a:ahLst/>
              <a:rect l="l" t="t" r="r" b="b"/>
              <a:pathLst>
                <a:path w="882" h="2129" extrusionOk="0">
                  <a:moveTo>
                    <a:pt x="0" y="1"/>
                  </a:moveTo>
                  <a:lnTo>
                    <a:pt x="0" y="1"/>
                  </a:lnTo>
                  <a:cubicBezTo>
                    <a:pt x="61" y="365"/>
                    <a:pt x="213" y="730"/>
                    <a:pt x="365" y="1095"/>
                  </a:cubicBezTo>
                  <a:cubicBezTo>
                    <a:pt x="487" y="1460"/>
                    <a:pt x="669" y="1794"/>
                    <a:pt x="882" y="2128"/>
                  </a:cubicBezTo>
                  <a:cubicBezTo>
                    <a:pt x="669" y="1368"/>
                    <a:pt x="365" y="669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6" name="Google Shape;344;g191abe3b490_12_4485"/>
            <p:cNvSpPr/>
            <p:nvPr/>
          </p:nvSpPr>
          <p:spPr>
            <a:xfrm>
              <a:off x="2709275" y="2944975"/>
              <a:ext cx="608700" cy="534775"/>
            </a:xfrm>
            <a:custGeom>
              <a:avLst/>
              <a:ahLst/>
              <a:rect l="l" t="t" r="r" b="b"/>
              <a:pathLst>
                <a:path w="24348" h="21391" extrusionOk="0">
                  <a:moveTo>
                    <a:pt x="12196" y="0"/>
                  </a:moveTo>
                  <a:cubicBezTo>
                    <a:pt x="8732" y="0"/>
                    <a:pt x="5336" y="1691"/>
                    <a:pt x="3284" y="4798"/>
                  </a:cubicBezTo>
                  <a:cubicBezTo>
                    <a:pt x="1" y="9692"/>
                    <a:pt x="1338" y="16349"/>
                    <a:pt x="6262" y="19601"/>
                  </a:cubicBezTo>
                  <a:cubicBezTo>
                    <a:pt x="8079" y="20812"/>
                    <a:pt x="10132" y="21390"/>
                    <a:pt x="12162" y="21390"/>
                  </a:cubicBezTo>
                  <a:cubicBezTo>
                    <a:pt x="15635" y="21390"/>
                    <a:pt x="19043" y="19699"/>
                    <a:pt x="21095" y="16592"/>
                  </a:cubicBezTo>
                  <a:cubicBezTo>
                    <a:pt x="24348" y="11668"/>
                    <a:pt x="23010" y="5042"/>
                    <a:pt x="18086" y="1789"/>
                  </a:cubicBezTo>
                  <a:cubicBezTo>
                    <a:pt x="16269" y="578"/>
                    <a:pt x="14221" y="0"/>
                    <a:pt x="1219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7" name="Google Shape;345;g191abe3b490_12_4485"/>
            <p:cNvSpPr/>
            <p:nvPr/>
          </p:nvSpPr>
          <p:spPr>
            <a:xfrm>
              <a:off x="2758675" y="2985600"/>
              <a:ext cx="508400" cy="449050"/>
            </a:xfrm>
            <a:custGeom>
              <a:avLst/>
              <a:ahLst/>
              <a:rect l="l" t="t" r="r" b="b"/>
              <a:pathLst>
                <a:path w="20336" h="17962" extrusionOk="0">
                  <a:moveTo>
                    <a:pt x="10163" y="0"/>
                  </a:moveTo>
                  <a:cubicBezTo>
                    <a:pt x="6608" y="0"/>
                    <a:pt x="3237" y="2139"/>
                    <a:pt x="1824" y="5636"/>
                  </a:cubicBezTo>
                  <a:cubicBezTo>
                    <a:pt x="1" y="10256"/>
                    <a:pt x="2219" y="15484"/>
                    <a:pt x="6840" y="17307"/>
                  </a:cubicBezTo>
                  <a:cubicBezTo>
                    <a:pt x="7938" y="17751"/>
                    <a:pt x="9073" y="17962"/>
                    <a:pt x="10190" y="17962"/>
                  </a:cubicBezTo>
                  <a:cubicBezTo>
                    <a:pt x="13739" y="17962"/>
                    <a:pt x="17101" y="15837"/>
                    <a:pt x="18512" y="12323"/>
                  </a:cubicBezTo>
                  <a:cubicBezTo>
                    <a:pt x="20335" y="7733"/>
                    <a:pt x="18116" y="2505"/>
                    <a:pt x="13496" y="651"/>
                  </a:cubicBezTo>
                  <a:cubicBezTo>
                    <a:pt x="12403" y="209"/>
                    <a:pt x="11274" y="0"/>
                    <a:pt x="1016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8" name="Google Shape;346;g191abe3b490_12_4485"/>
            <p:cNvSpPr/>
            <p:nvPr/>
          </p:nvSpPr>
          <p:spPr>
            <a:xfrm>
              <a:off x="2786025" y="2984775"/>
              <a:ext cx="453700" cy="451750"/>
            </a:xfrm>
            <a:custGeom>
              <a:avLst/>
              <a:ahLst/>
              <a:rect l="l" t="t" r="r" b="b"/>
              <a:pathLst>
                <a:path w="18148" h="18070" extrusionOk="0">
                  <a:moveTo>
                    <a:pt x="17296" y="5425"/>
                  </a:moveTo>
                  <a:cubicBezTo>
                    <a:pt x="17326" y="5486"/>
                    <a:pt x="17326" y="5517"/>
                    <a:pt x="17357" y="5577"/>
                  </a:cubicBezTo>
                  <a:cubicBezTo>
                    <a:pt x="17357" y="5577"/>
                    <a:pt x="17357" y="5517"/>
                    <a:pt x="17296" y="5425"/>
                  </a:cubicBezTo>
                  <a:close/>
                  <a:moveTo>
                    <a:pt x="9049" y="0"/>
                  </a:moveTo>
                  <a:cubicBezTo>
                    <a:pt x="8434" y="0"/>
                    <a:pt x="7816" y="65"/>
                    <a:pt x="7205" y="197"/>
                  </a:cubicBezTo>
                  <a:cubicBezTo>
                    <a:pt x="6809" y="258"/>
                    <a:pt x="6445" y="380"/>
                    <a:pt x="6080" y="501"/>
                  </a:cubicBezTo>
                  <a:cubicBezTo>
                    <a:pt x="5928" y="592"/>
                    <a:pt x="5715" y="623"/>
                    <a:pt x="5533" y="714"/>
                  </a:cubicBezTo>
                  <a:lnTo>
                    <a:pt x="4986" y="957"/>
                  </a:lnTo>
                  <a:cubicBezTo>
                    <a:pt x="4895" y="1018"/>
                    <a:pt x="4803" y="1048"/>
                    <a:pt x="4712" y="1109"/>
                  </a:cubicBezTo>
                  <a:lnTo>
                    <a:pt x="4469" y="1261"/>
                  </a:lnTo>
                  <a:cubicBezTo>
                    <a:pt x="4287" y="1383"/>
                    <a:pt x="4104" y="1474"/>
                    <a:pt x="3922" y="1596"/>
                  </a:cubicBezTo>
                  <a:cubicBezTo>
                    <a:pt x="3253" y="2082"/>
                    <a:pt x="2615" y="2659"/>
                    <a:pt x="2068" y="3298"/>
                  </a:cubicBezTo>
                  <a:cubicBezTo>
                    <a:pt x="1946" y="3480"/>
                    <a:pt x="1825" y="3662"/>
                    <a:pt x="1673" y="3845"/>
                  </a:cubicBezTo>
                  <a:cubicBezTo>
                    <a:pt x="1551" y="4027"/>
                    <a:pt x="1429" y="4210"/>
                    <a:pt x="1338" y="4392"/>
                  </a:cubicBezTo>
                  <a:cubicBezTo>
                    <a:pt x="852" y="5182"/>
                    <a:pt x="518" y="6003"/>
                    <a:pt x="305" y="6915"/>
                  </a:cubicBezTo>
                  <a:cubicBezTo>
                    <a:pt x="62" y="7827"/>
                    <a:pt x="1" y="8769"/>
                    <a:pt x="62" y="9711"/>
                  </a:cubicBezTo>
                  <a:cubicBezTo>
                    <a:pt x="214" y="11656"/>
                    <a:pt x="973" y="13511"/>
                    <a:pt x="2280" y="14970"/>
                  </a:cubicBezTo>
                  <a:cubicBezTo>
                    <a:pt x="2888" y="15699"/>
                    <a:pt x="3618" y="16307"/>
                    <a:pt x="4439" y="16793"/>
                  </a:cubicBezTo>
                  <a:cubicBezTo>
                    <a:pt x="5198" y="17249"/>
                    <a:pt x="6050" y="17614"/>
                    <a:pt x="6931" y="17827"/>
                  </a:cubicBezTo>
                  <a:cubicBezTo>
                    <a:pt x="7144" y="17857"/>
                    <a:pt x="7357" y="17918"/>
                    <a:pt x="7569" y="17948"/>
                  </a:cubicBezTo>
                  <a:cubicBezTo>
                    <a:pt x="7812" y="17979"/>
                    <a:pt x="8025" y="18009"/>
                    <a:pt x="8238" y="18040"/>
                  </a:cubicBezTo>
                  <a:cubicBezTo>
                    <a:pt x="8664" y="18070"/>
                    <a:pt x="9089" y="18070"/>
                    <a:pt x="9515" y="18070"/>
                  </a:cubicBezTo>
                  <a:cubicBezTo>
                    <a:pt x="9940" y="18040"/>
                    <a:pt x="10366" y="17979"/>
                    <a:pt x="10761" y="17918"/>
                  </a:cubicBezTo>
                  <a:cubicBezTo>
                    <a:pt x="10974" y="17888"/>
                    <a:pt x="11186" y="17827"/>
                    <a:pt x="11369" y="17766"/>
                  </a:cubicBezTo>
                  <a:lnTo>
                    <a:pt x="11673" y="17705"/>
                  </a:lnTo>
                  <a:cubicBezTo>
                    <a:pt x="11764" y="17675"/>
                    <a:pt x="11855" y="17644"/>
                    <a:pt x="11946" y="17614"/>
                  </a:cubicBezTo>
                  <a:lnTo>
                    <a:pt x="12524" y="17401"/>
                  </a:lnTo>
                  <a:cubicBezTo>
                    <a:pt x="12706" y="17340"/>
                    <a:pt x="12858" y="17219"/>
                    <a:pt x="13041" y="17158"/>
                  </a:cubicBezTo>
                  <a:cubicBezTo>
                    <a:pt x="13405" y="16976"/>
                    <a:pt x="13740" y="16793"/>
                    <a:pt x="14044" y="16581"/>
                  </a:cubicBezTo>
                  <a:cubicBezTo>
                    <a:pt x="16202" y="15152"/>
                    <a:pt x="17661" y="12872"/>
                    <a:pt x="18025" y="10289"/>
                  </a:cubicBezTo>
                  <a:cubicBezTo>
                    <a:pt x="18147" y="9438"/>
                    <a:pt x="18147" y="8556"/>
                    <a:pt x="17995" y="7705"/>
                  </a:cubicBezTo>
                  <a:cubicBezTo>
                    <a:pt x="17934" y="7371"/>
                    <a:pt x="17873" y="7067"/>
                    <a:pt x="17782" y="6763"/>
                  </a:cubicBezTo>
                  <a:cubicBezTo>
                    <a:pt x="17752" y="6611"/>
                    <a:pt x="17752" y="6489"/>
                    <a:pt x="17691" y="6398"/>
                  </a:cubicBezTo>
                  <a:cubicBezTo>
                    <a:pt x="17661" y="6276"/>
                    <a:pt x="17630" y="6185"/>
                    <a:pt x="17600" y="6094"/>
                  </a:cubicBezTo>
                  <a:lnTo>
                    <a:pt x="17448" y="5699"/>
                  </a:lnTo>
                  <a:cubicBezTo>
                    <a:pt x="17388" y="5608"/>
                    <a:pt x="17387" y="5548"/>
                    <a:pt x="17387" y="5547"/>
                  </a:cubicBezTo>
                  <a:lnTo>
                    <a:pt x="17387" y="5547"/>
                  </a:lnTo>
                  <a:cubicBezTo>
                    <a:pt x="17387" y="5548"/>
                    <a:pt x="17387" y="5608"/>
                    <a:pt x="17418" y="5699"/>
                  </a:cubicBezTo>
                  <a:lnTo>
                    <a:pt x="17570" y="6094"/>
                  </a:lnTo>
                  <a:lnTo>
                    <a:pt x="17661" y="6398"/>
                  </a:lnTo>
                  <a:cubicBezTo>
                    <a:pt x="17691" y="6520"/>
                    <a:pt x="17721" y="6641"/>
                    <a:pt x="17752" y="6763"/>
                  </a:cubicBezTo>
                  <a:cubicBezTo>
                    <a:pt x="17843" y="7067"/>
                    <a:pt x="17904" y="7401"/>
                    <a:pt x="17934" y="7705"/>
                  </a:cubicBezTo>
                  <a:cubicBezTo>
                    <a:pt x="18056" y="8556"/>
                    <a:pt x="18056" y="9438"/>
                    <a:pt x="17934" y="10289"/>
                  </a:cubicBezTo>
                  <a:cubicBezTo>
                    <a:pt x="17570" y="12812"/>
                    <a:pt x="16141" y="15061"/>
                    <a:pt x="13983" y="16489"/>
                  </a:cubicBezTo>
                  <a:cubicBezTo>
                    <a:pt x="13679" y="16672"/>
                    <a:pt x="13345" y="16885"/>
                    <a:pt x="13010" y="17036"/>
                  </a:cubicBezTo>
                  <a:cubicBezTo>
                    <a:pt x="12828" y="17128"/>
                    <a:pt x="12645" y="17219"/>
                    <a:pt x="12463" y="17280"/>
                  </a:cubicBezTo>
                  <a:lnTo>
                    <a:pt x="11916" y="17462"/>
                  </a:lnTo>
                  <a:cubicBezTo>
                    <a:pt x="11825" y="17523"/>
                    <a:pt x="11734" y="17553"/>
                    <a:pt x="11642" y="17584"/>
                  </a:cubicBezTo>
                  <a:lnTo>
                    <a:pt x="11338" y="17644"/>
                  </a:lnTo>
                  <a:cubicBezTo>
                    <a:pt x="11126" y="17705"/>
                    <a:pt x="10943" y="17736"/>
                    <a:pt x="10761" y="17796"/>
                  </a:cubicBezTo>
                  <a:cubicBezTo>
                    <a:pt x="10335" y="17857"/>
                    <a:pt x="9940" y="17918"/>
                    <a:pt x="9515" y="17918"/>
                  </a:cubicBezTo>
                  <a:cubicBezTo>
                    <a:pt x="9390" y="17927"/>
                    <a:pt x="9265" y="17931"/>
                    <a:pt x="9141" y="17931"/>
                  </a:cubicBezTo>
                  <a:cubicBezTo>
                    <a:pt x="8840" y="17931"/>
                    <a:pt x="8539" y="17909"/>
                    <a:pt x="8238" y="17888"/>
                  </a:cubicBezTo>
                  <a:cubicBezTo>
                    <a:pt x="8025" y="17888"/>
                    <a:pt x="7812" y="17827"/>
                    <a:pt x="7600" y="17796"/>
                  </a:cubicBezTo>
                  <a:cubicBezTo>
                    <a:pt x="7387" y="17766"/>
                    <a:pt x="7174" y="17736"/>
                    <a:pt x="6961" y="17675"/>
                  </a:cubicBezTo>
                  <a:cubicBezTo>
                    <a:pt x="6536" y="17553"/>
                    <a:pt x="6110" y="17432"/>
                    <a:pt x="5715" y="17280"/>
                  </a:cubicBezTo>
                  <a:cubicBezTo>
                    <a:pt x="5290" y="17097"/>
                    <a:pt x="4895" y="16885"/>
                    <a:pt x="4499" y="16641"/>
                  </a:cubicBezTo>
                  <a:cubicBezTo>
                    <a:pt x="3709" y="16185"/>
                    <a:pt x="2980" y="15577"/>
                    <a:pt x="2372" y="14878"/>
                  </a:cubicBezTo>
                  <a:cubicBezTo>
                    <a:pt x="1764" y="14149"/>
                    <a:pt x="1247" y="13328"/>
                    <a:pt x="852" y="12447"/>
                  </a:cubicBezTo>
                  <a:cubicBezTo>
                    <a:pt x="518" y="11565"/>
                    <a:pt x="274" y="10653"/>
                    <a:pt x="214" y="9681"/>
                  </a:cubicBezTo>
                  <a:cubicBezTo>
                    <a:pt x="122" y="8769"/>
                    <a:pt x="214" y="7827"/>
                    <a:pt x="426" y="6945"/>
                  </a:cubicBezTo>
                  <a:cubicBezTo>
                    <a:pt x="548" y="6489"/>
                    <a:pt x="670" y="6064"/>
                    <a:pt x="852" y="5638"/>
                  </a:cubicBezTo>
                  <a:cubicBezTo>
                    <a:pt x="1004" y="5243"/>
                    <a:pt x="1217" y="4848"/>
                    <a:pt x="1460" y="4453"/>
                  </a:cubicBezTo>
                  <a:cubicBezTo>
                    <a:pt x="1551" y="4270"/>
                    <a:pt x="1673" y="4088"/>
                    <a:pt x="1794" y="3906"/>
                  </a:cubicBezTo>
                  <a:cubicBezTo>
                    <a:pt x="1916" y="3754"/>
                    <a:pt x="2037" y="3571"/>
                    <a:pt x="2189" y="3389"/>
                  </a:cubicBezTo>
                  <a:cubicBezTo>
                    <a:pt x="2463" y="3055"/>
                    <a:pt x="2736" y="2751"/>
                    <a:pt x="3040" y="2477"/>
                  </a:cubicBezTo>
                  <a:cubicBezTo>
                    <a:pt x="3344" y="2203"/>
                    <a:pt x="3679" y="1930"/>
                    <a:pt x="4013" y="1687"/>
                  </a:cubicBezTo>
                  <a:cubicBezTo>
                    <a:pt x="4195" y="1596"/>
                    <a:pt x="4347" y="1474"/>
                    <a:pt x="4530" y="1383"/>
                  </a:cubicBezTo>
                  <a:lnTo>
                    <a:pt x="4803" y="1231"/>
                  </a:lnTo>
                  <a:cubicBezTo>
                    <a:pt x="4864" y="1170"/>
                    <a:pt x="4955" y="1140"/>
                    <a:pt x="5046" y="1079"/>
                  </a:cubicBezTo>
                  <a:lnTo>
                    <a:pt x="5594" y="836"/>
                  </a:lnTo>
                  <a:cubicBezTo>
                    <a:pt x="5746" y="744"/>
                    <a:pt x="5958" y="684"/>
                    <a:pt x="6141" y="623"/>
                  </a:cubicBezTo>
                  <a:cubicBezTo>
                    <a:pt x="7084" y="280"/>
                    <a:pt x="8067" y="111"/>
                    <a:pt x="9055" y="111"/>
                  </a:cubicBezTo>
                  <a:cubicBezTo>
                    <a:pt x="9817" y="111"/>
                    <a:pt x="10584" y="212"/>
                    <a:pt x="11338" y="410"/>
                  </a:cubicBezTo>
                  <a:cubicBezTo>
                    <a:pt x="12433" y="684"/>
                    <a:pt x="13466" y="1170"/>
                    <a:pt x="14408" y="1869"/>
                  </a:cubicBezTo>
                  <a:cubicBezTo>
                    <a:pt x="15107" y="2355"/>
                    <a:pt x="15715" y="2963"/>
                    <a:pt x="16232" y="3662"/>
                  </a:cubicBezTo>
                  <a:cubicBezTo>
                    <a:pt x="16445" y="3906"/>
                    <a:pt x="16597" y="4179"/>
                    <a:pt x="16779" y="4453"/>
                  </a:cubicBezTo>
                  <a:cubicBezTo>
                    <a:pt x="16840" y="4574"/>
                    <a:pt x="16901" y="4665"/>
                    <a:pt x="16962" y="4787"/>
                  </a:cubicBezTo>
                  <a:lnTo>
                    <a:pt x="17114" y="5061"/>
                  </a:lnTo>
                  <a:lnTo>
                    <a:pt x="17296" y="5425"/>
                  </a:lnTo>
                  <a:cubicBezTo>
                    <a:pt x="17266" y="5334"/>
                    <a:pt x="17205" y="5213"/>
                    <a:pt x="17144" y="5061"/>
                  </a:cubicBezTo>
                  <a:lnTo>
                    <a:pt x="16992" y="4757"/>
                  </a:lnTo>
                  <a:cubicBezTo>
                    <a:pt x="16931" y="4665"/>
                    <a:pt x="16870" y="4544"/>
                    <a:pt x="16810" y="4422"/>
                  </a:cubicBezTo>
                  <a:cubicBezTo>
                    <a:pt x="16658" y="4149"/>
                    <a:pt x="16475" y="3906"/>
                    <a:pt x="16293" y="3632"/>
                  </a:cubicBezTo>
                  <a:cubicBezTo>
                    <a:pt x="15776" y="2933"/>
                    <a:pt x="15138" y="2325"/>
                    <a:pt x="14439" y="1808"/>
                  </a:cubicBezTo>
                  <a:cubicBezTo>
                    <a:pt x="12873" y="634"/>
                    <a:pt x="10975" y="0"/>
                    <a:pt x="904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69" name="Google Shape;347;g191abe3b490_12_4485"/>
            <p:cNvSpPr/>
            <p:nvPr/>
          </p:nvSpPr>
          <p:spPr>
            <a:xfrm>
              <a:off x="3153050" y="3113800"/>
              <a:ext cx="68425" cy="31700"/>
            </a:xfrm>
            <a:custGeom>
              <a:avLst/>
              <a:ahLst/>
              <a:rect l="l" t="t" r="r" b="b"/>
              <a:pathLst>
                <a:path w="2737" h="1268" extrusionOk="0">
                  <a:moveTo>
                    <a:pt x="2649" y="0"/>
                  </a:moveTo>
                  <a:cubicBezTo>
                    <a:pt x="2474" y="0"/>
                    <a:pt x="1924" y="200"/>
                    <a:pt x="1308" y="508"/>
                  </a:cubicBezTo>
                  <a:cubicBezTo>
                    <a:pt x="822" y="690"/>
                    <a:pt x="396" y="963"/>
                    <a:pt x="1" y="1267"/>
                  </a:cubicBezTo>
                  <a:cubicBezTo>
                    <a:pt x="518" y="1176"/>
                    <a:pt x="974" y="1024"/>
                    <a:pt x="1430" y="781"/>
                  </a:cubicBezTo>
                  <a:cubicBezTo>
                    <a:pt x="2159" y="447"/>
                    <a:pt x="2737" y="112"/>
                    <a:pt x="2706" y="21"/>
                  </a:cubicBezTo>
                  <a:cubicBezTo>
                    <a:pt x="2701" y="7"/>
                    <a:pt x="2682" y="0"/>
                    <a:pt x="264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0" name="Google Shape;348;g191abe3b490_12_4485"/>
            <p:cNvSpPr/>
            <p:nvPr/>
          </p:nvSpPr>
          <p:spPr>
            <a:xfrm>
              <a:off x="3158375" y="3263250"/>
              <a:ext cx="70700" cy="25775"/>
            </a:xfrm>
            <a:custGeom>
              <a:avLst/>
              <a:ahLst/>
              <a:rect l="l" t="t" r="r" b="b"/>
              <a:pathLst>
                <a:path w="2828" h="1031" extrusionOk="0">
                  <a:moveTo>
                    <a:pt x="1" y="1"/>
                  </a:moveTo>
                  <a:lnTo>
                    <a:pt x="1" y="1"/>
                  </a:lnTo>
                  <a:cubicBezTo>
                    <a:pt x="426" y="274"/>
                    <a:pt x="882" y="487"/>
                    <a:pt x="1368" y="639"/>
                  </a:cubicBezTo>
                  <a:cubicBezTo>
                    <a:pt x="1981" y="884"/>
                    <a:pt x="2514" y="1030"/>
                    <a:pt x="2714" y="1030"/>
                  </a:cubicBezTo>
                  <a:cubicBezTo>
                    <a:pt x="2762" y="1030"/>
                    <a:pt x="2791" y="1022"/>
                    <a:pt x="2797" y="1004"/>
                  </a:cubicBezTo>
                  <a:cubicBezTo>
                    <a:pt x="2827" y="913"/>
                    <a:pt x="2220" y="639"/>
                    <a:pt x="1460" y="365"/>
                  </a:cubicBezTo>
                  <a:cubicBezTo>
                    <a:pt x="1004" y="183"/>
                    <a:pt x="517" y="62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1" name="Google Shape;349;g191abe3b490_12_4485"/>
            <p:cNvSpPr/>
            <p:nvPr/>
          </p:nvSpPr>
          <p:spPr>
            <a:xfrm>
              <a:off x="3079350" y="3349875"/>
              <a:ext cx="34225" cy="67700"/>
            </a:xfrm>
            <a:custGeom>
              <a:avLst/>
              <a:ahLst/>
              <a:rect l="l" t="t" r="r" b="b"/>
              <a:pathLst>
                <a:path w="1369" h="2708" extrusionOk="0">
                  <a:moveTo>
                    <a:pt x="1" y="1"/>
                  </a:moveTo>
                  <a:lnTo>
                    <a:pt x="1" y="1"/>
                  </a:lnTo>
                  <a:cubicBezTo>
                    <a:pt x="92" y="487"/>
                    <a:pt x="274" y="973"/>
                    <a:pt x="517" y="1399"/>
                  </a:cubicBezTo>
                  <a:cubicBezTo>
                    <a:pt x="843" y="2140"/>
                    <a:pt x="1169" y="2707"/>
                    <a:pt x="1270" y="2707"/>
                  </a:cubicBezTo>
                  <a:cubicBezTo>
                    <a:pt x="1272" y="2707"/>
                    <a:pt x="1275" y="2707"/>
                    <a:pt x="1277" y="2706"/>
                  </a:cubicBezTo>
                  <a:cubicBezTo>
                    <a:pt x="1368" y="2645"/>
                    <a:pt x="1156" y="2007"/>
                    <a:pt x="760" y="1277"/>
                  </a:cubicBezTo>
                  <a:cubicBezTo>
                    <a:pt x="578" y="822"/>
                    <a:pt x="304" y="396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2" name="Google Shape;350;g191abe3b490_12_4485"/>
            <p:cNvSpPr/>
            <p:nvPr/>
          </p:nvSpPr>
          <p:spPr>
            <a:xfrm>
              <a:off x="2934975" y="3356725"/>
              <a:ext cx="27375" cy="69950"/>
            </a:xfrm>
            <a:custGeom>
              <a:avLst/>
              <a:ahLst/>
              <a:rect l="l" t="t" r="r" b="b"/>
              <a:pathLst>
                <a:path w="1095" h="2798" extrusionOk="0">
                  <a:moveTo>
                    <a:pt x="1095" y="0"/>
                  </a:moveTo>
                  <a:cubicBezTo>
                    <a:pt x="791" y="396"/>
                    <a:pt x="608" y="851"/>
                    <a:pt x="456" y="1338"/>
                  </a:cubicBezTo>
                  <a:cubicBezTo>
                    <a:pt x="183" y="2098"/>
                    <a:pt x="0" y="2766"/>
                    <a:pt x="92" y="2797"/>
                  </a:cubicBezTo>
                  <a:cubicBezTo>
                    <a:pt x="94" y="2797"/>
                    <a:pt x="96" y="2798"/>
                    <a:pt x="98" y="2798"/>
                  </a:cubicBezTo>
                  <a:cubicBezTo>
                    <a:pt x="195" y="2798"/>
                    <a:pt x="463" y="2171"/>
                    <a:pt x="730" y="1429"/>
                  </a:cubicBezTo>
                  <a:cubicBezTo>
                    <a:pt x="912" y="973"/>
                    <a:pt x="1034" y="487"/>
                    <a:pt x="109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3" name="Google Shape;351;g191abe3b490_12_4485"/>
            <p:cNvSpPr/>
            <p:nvPr/>
          </p:nvSpPr>
          <p:spPr>
            <a:xfrm>
              <a:off x="2806550" y="3278450"/>
              <a:ext cx="67650" cy="33225"/>
            </a:xfrm>
            <a:custGeom>
              <a:avLst/>
              <a:ahLst/>
              <a:rect l="l" t="t" r="r" b="b"/>
              <a:pathLst>
                <a:path w="2706" h="1329" extrusionOk="0">
                  <a:moveTo>
                    <a:pt x="2706" y="1"/>
                  </a:moveTo>
                  <a:lnTo>
                    <a:pt x="2706" y="1"/>
                  </a:lnTo>
                  <a:cubicBezTo>
                    <a:pt x="2219" y="122"/>
                    <a:pt x="1733" y="305"/>
                    <a:pt x="1307" y="548"/>
                  </a:cubicBezTo>
                  <a:cubicBezTo>
                    <a:pt x="578" y="852"/>
                    <a:pt x="0" y="1216"/>
                    <a:pt x="31" y="1308"/>
                  </a:cubicBezTo>
                  <a:cubicBezTo>
                    <a:pt x="36" y="1322"/>
                    <a:pt x="55" y="1329"/>
                    <a:pt x="87" y="1329"/>
                  </a:cubicBezTo>
                  <a:cubicBezTo>
                    <a:pt x="261" y="1329"/>
                    <a:pt x="813" y="1125"/>
                    <a:pt x="1429" y="791"/>
                  </a:cubicBezTo>
                  <a:cubicBezTo>
                    <a:pt x="1885" y="609"/>
                    <a:pt x="2311" y="335"/>
                    <a:pt x="270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4" name="Google Shape;352;g191abe3b490_12_4485"/>
            <p:cNvSpPr/>
            <p:nvPr/>
          </p:nvSpPr>
          <p:spPr>
            <a:xfrm>
              <a:off x="2795150" y="3136450"/>
              <a:ext cx="71450" cy="25000"/>
            </a:xfrm>
            <a:custGeom>
              <a:avLst/>
              <a:ahLst/>
              <a:rect l="l" t="t" r="r" b="b"/>
              <a:pathLst>
                <a:path w="2858" h="1000" extrusionOk="0">
                  <a:moveTo>
                    <a:pt x="119" y="1"/>
                  </a:moveTo>
                  <a:cubicBezTo>
                    <a:pt x="68" y="1"/>
                    <a:pt x="37" y="9"/>
                    <a:pt x="31" y="27"/>
                  </a:cubicBezTo>
                  <a:cubicBezTo>
                    <a:pt x="1" y="118"/>
                    <a:pt x="608" y="392"/>
                    <a:pt x="1399" y="635"/>
                  </a:cubicBezTo>
                  <a:cubicBezTo>
                    <a:pt x="1855" y="817"/>
                    <a:pt x="2341" y="939"/>
                    <a:pt x="2858" y="1000"/>
                  </a:cubicBezTo>
                  <a:cubicBezTo>
                    <a:pt x="2432" y="726"/>
                    <a:pt x="1976" y="513"/>
                    <a:pt x="1490" y="361"/>
                  </a:cubicBezTo>
                  <a:cubicBezTo>
                    <a:pt x="880" y="142"/>
                    <a:pt x="329" y="1"/>
                    <a:pt x="11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5" name="Google Shape;353;g191abe3b490_12_4485"/>
            <p:cNvSpPr/>
            <p:nvPr/>
          </p:nvSpPr>
          <p:spPr>
            <a:xfrm>
              <a:off x="2908375" y="3006300"/>
              <a:ext cx="34975" cy="66250"/>
            </a:xfrm>
            <a:custGeom>
              <a:avLst/>
              <a:ahLst/>
              <a:rect l="l" t="t" r="r" b="b"/>
              <a:pathLst>
                <a:path w="1399" h="2650" extrusionOk="0">
                  <a:moveTo>
                    <a:pt x="103" y="1"/>
                  </a:moveTo>
                  <a:cubicBezTo>
                    <a:pt x="98" y="1"/>
                    <a:pt x="95" y="2"/>
                    <a:pt x="92" y="5"/>
                  </a:cubicBezTo>
                  <a:cubicBezTo>
                    <a:pt x="1" y="35"/>
                    <a:pt x="244" y="643"/>
                    <a:pt x="608" y="1373"/>
                  </a:cubicBezTo>
                  <a:cubicBezTo>
                    <a:pt x="821" y="1829"/>
                    <a:pt x="1095" y="2254"/>
                    <a:pt x="1399" y="2649"/>
                  </a:cubicBezTo>
                  <a:cubicBezTo>
                    <a:pt x="1308" y="2163"/>
                    <a:pt x="1125" y="1677"/>
                    <a:pt x="882" y="1251"/>
                  </a:cubicBezTo>
                  <a:cubicBezTo>
                    <a:pt x="535" y="557"/>
                    <a:pt x="188" y="1"/>
                    <a:pt x="10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6" name="Google Shape;354;g191abe3b490_12_4485"/>
            <p:cNvSpPr/>
            <p:nvPr/>
          </p:nvSpPr>
          <p:spPr>
            <a:xfrm>
              <a:off x="3061125" y="2992700"/>
              <a:ext cx="25100" cy="70725"/>
            </a:xfrm>
            <a:custGeom>
              <a:avLst/>
              <a:ahLst/>
              <a:rect l="l" t="t" r="r" b="b"/>
              <a:pathLst>
                <a:path w="1004" h="2829" extrusionOk="0">
                  <a:moveTo>
                    <a:pt x="905" y="1"/>
                  </a:moveTo>
                  <a:cubicBezTo>
                    <a:pt x="808" y="1"/>
                    <a:pt x="541" y="598"/>
                    <a:pt x="304" y="1370"/>
                  </a:cubicBezTo>
                  <a:cubicBezTo>
                    <a:pt x="122" y="1826"/>
                    <a:pt x="30" y="2342"/>
                    <a:pt x="0" y="2829"/>
                  </a:cubicBezTo>
                  <a:cubicBezTo>
                    <a:pt x="243" y="2403"/>
                    <a:pt x="456" y="1947"/>
                    <a:pt x="578" y="1461"/>
                  </a:cubicBezTo>
                  <a:cubicBezTo>
                    <a:pt x="851" y="701"/>
                    <a:pt x="1003" y="32"/>
                    <a:pt x="912" y="2"/>
                  </a:cubicBezTo>
                  <a:cubicBezTo>
                    <a:pt x="910" y="1"/>
                    <a:pt x="907" y="1"/>
                    <a:pt x="90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7" name="Google Shape;355;g191abe3b490_12_4485"/>
            <p:cNvSpPr/>
            <p:nvPr/>
          </p:nvSpPr>
          <p:spPr>
            <a:xfrm>
              <a:off x="3150775" y="3105525"/>
              <a:ext cx="66900" cy="34650"/>
            </a:xfrm>
            <a:custGeom>
              <a:avLst/>
              <a:ahLst/>
              <a:rect l="l" t="t" r="r" b="b"/>
              <a:pathLst>
                <a:path w="2676" h="1386" extrusionOk="0">
                  <a:moveTo>
                    <a:pt x="2572" y="0"/>
                  </a:moveTo>
                  <a:cubicBezTo>
                    <a:pt x="2415" y="0"/>
                    <a:pt x="1854" y="248"/>
                    <a:pt x="1247" y="565"/>
                  </a:cubicBezTo>
                  <a:cubicBezTo>
                    <a:pt x="791" y="778"/>
                    <a:pt x="365" y="1051"/>
                    <a:pt x="1" y="1386"/>
                  </a:cubicBezTo>
                  <a:cubicBezTo>
                    <a:pt x="457" y="1264"/>
                    <a:pt x="943" y="1051"/>
                    <a:pt x="1369" y="808"/>
                  </a:cubicBezTo>
                  <a:cubicBezTo>
                    <a:pt x="2098" y="443"/>
                    <a:pt x="2676" y="109"/>
                    <a:pt x="2615" y="18"/>
                  </a:cubicBezTo>
                  <a:cubicBezTo>
                    <a:pt x="2611" y="6"/>
                    <a:pt x="2596" y="0"/>
                    <a:pt x="257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8" name="Google Shape;356;g191abe3b490_12_4485"/>
            <p:cNvSpPr/>
            <p:nvPr/>
          </p:nvSpPr>
          <p:spPr>
            <a:xfrm>
              <a:off x="2741200" y="3020100"/>
              <a:ext cx="98050" cy="297125"/>
            </a:xfrm>
            <a:custGeom>
              <a:avLst/>
              <a:ahLst/>
              <a:rect l="l" t="t" r="r" b="b"/>
              <a:pathLst>
                <a:path w="3922" h="11885" extrusionOk="0">
                  <a:moveTo>
                    <a:pt x="3921" y="0"/>
                  </a:moveTo>
                  <a:lnTo>
                    <a:pt x="3921" y="0"/>
                  </a:lnTo>
                  <a:cubicBezTo>
                    <a:pt x="3921" y="0"/>
                    <a:pt x="3861" y="31"/>
                    <a:pt x="3800" y="61"/>
                  </a:cubicBezTo>
                  <a:cubicBezTo>
                    <a:pt x="3739" y="122"/>
                    <a:pt x="3648" y="213"/>
                    <a:pt x="3526" y="335"/>
                  </a:cubicBezTo>
                  <a:cubicBezTo>
                    <a:pt x="3192" y="638"/>
                    <a:pt x="2858" y="1003"/>
                    <a:pt x="2584" y="1368"/>
                  </a:cubicBezTo>
                  <a:cubicBezTo>
                    <a:pt x="669" y="3830"/>
                    <a:pt x="0" y="7082"/>
                    <a:pt x="791" y="10091"/>
                  </a:cubicBezTo>
                  <a:cubicBezTo>
                    <a:pt x="882" y="10547"/>
                    <a:pt x="1034" y="11003"/>
                    <a:pt x="1216" y="11429"/>
                  </a:cubicBezTo>
                  <a:cubicBezTo>
                    <a:pt x="1277" y="11581"/>
                    <a:pt x="1338" y="11702"/>
                    <a:pt x="1399" y="11763"/>
                  </a:cubicBezTo>
                  <a:cubicBezTo>
                    <a:pt x="1399" y="11794"/>
                    <a:pt x="1429" y="11854"/>
                    <a:pt x="1459" y="11885"/>
                  </a:cubicBezTo>
                  <a:cubicBezTo>
                    <a:pt x="1399" y="11733"/>
                    <a:pt x="1338" y="11550"/>
                    <a:pt x="1277" y="11399"/>
                  </a:cubicBezTo>
                  <a:cubicBezTo>
                    <a:pt x="1125" y="10973"/>
                    <a:pt x="973" y="10517"/>
                    <a:pt x="882" y="10091"/>
                  </a:cubicBezTo>
                  <a:cubicBezTo>
                    <a:pt x="152" y="7082"/>
                    <a:pt x="821" y="3891"/>
                    <a:pt x="2675" y="1429"/>
                  </a:cubicBezTo>
                  <a:cubicBezTo>
                    <a:pt x="2949" y="1064"/>
                    <a:pt x="3253" y="699"/>
                    <a:pt x="3557" y="365"/>
                  </a:cubicBezTo>
                  <a:cubicBezTo>
                    <a:pt x="3678" y="243"/>
                    <a:pt x="3800" y="122"/>
                    <a:pt x="39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79" name="Google Shape;357;g191abe3b490_12_4485"/>
            <p:cNvSpPr/>
            <p:nvPr/>
          </p:nvSpPr>
          <p:spPr>
            <a:xfrm>
              <a:off x="2855950" y="2978300"/>
              <a:ext cx="46375" cy="26625"/>
            </a:xfrm>
            <a:custGeom>
              <a:avLst/>
              <a:ahLst/>
              <a:rect l="l" t="t" r="r" b="b"/>
              <a:pathLst>
                <a:path w="1855" h="1065" extrusionOk="0">
                  <a:moveTo>
                    <a:pt x="1854" y="0"/>
                  </a:moveTo>
                  <a:cubicBezTo>
                    <a:pt x="1490" y="92"/>
                    <a:pt x="1186" y="244"/>
                    <a:pt x="882" y="426"/>
                  </a:cubicBezTo>
                  <a:cubicBezTo>
                    <a:pt x="547" y="608"/>
                    <a:pt x="274" y="821"/>
                    <a:pt x="0" y="1064"/>
                  </a:cubicBezTo>
                  <a:cubicBezTo>
                    <a:pt x="335" y="943"/>
                    <a:pt x="669" y="760"/>
                    <a:pt x="942" y="578"/>
                  </a:cubicBezTo>
                  <a:cubicBezTo>
                    <a:pt x="1277" y="396"/>
                    <a:pt x="1581" y="213"/>
                    <a:pt x="18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0" name="Google Shape;358;g191abe3b490_12_4485"/>
            <p:cNvSpPr/>
            <p:nvPr/>
          </p:nvSpPr>
          <p:spPr>
            <a:xfrm>
              <a:off x="2899250" y="3041375"/>
              <a:ext cx="419075" cy="409675"/>
            </a:xfrm>
            <a:custGeom>
              <a:avLst/>
              <a:ahLst/>
              <a:rect l="l" t="t" r="r" b="b"/>
              <a:pathLst>
                <a:path w="16763" h="16387" extrusionOk="0">
                  <a:moveTo>
                    <a:pt x="10487" y="0"/>
                  </a:moveTo>
                  <a:cubicBezTo>
                    <a:pt x="10488" y="0"/>
                    <a:pt x="10744" y="236"/>
                    <a:pt x="11124" y="663"/>
                  </a:cubicBezTo>
                  <a:lnTo>
                    <a:pt x="11124" y="663"/>
                  </a:lnTo>
                  <a:cubicBezTo>
                    <a:pt x="10752" y="232"/>
                    <a:pt x="10488" y="0"/>
                    <a:pt x="10487" y="0"/>
                  </a:cubicBezTo>
                  <a:close/>
                  <a:moveTo>
                    <a:pt x="11124" y="663"/>
                  </a:moveTo>
                  <a:cubicBezTo>
                    <a:pt x="12527" y="2288"/>
                    <a:pt x="15460" y="6757"/>
                    <a:pt x="11521" y="12402"/>
                  </a:cubicBezTo>
                  <a:cubicBezTo>
                    <a:pt x="10305" y="14195"/>
                    <a:pt x="8451" y="14955"/>
                    <a:pt x="6992" y="15411"/>
                  </a:cubicBezTo>
                  <a:cubicBezTo>
                    <a:pt x="6183" y="15654"/>
                    <a:pt x="5397" y="15749"/>
                    <a:pt x="4661" y="15749"/>
                  </a:cubicBezTo>
                  <a:cubicBezTo>
                    <a:pt x="1998" y="15749"/>
                    <a:pt x="1" y="14499"/>
                    <a:pt x="1" y="14499"/>
                  </a:cubicBezTo>
                  <a:lnTo>
                    <a:pt x="1" y="14499"/>
                  </a:lnTo>
                  <a:cubicBezTo>
                    <a:pt x="1" y="14499"/>
                    <a:pt x="2706" y="16387"/>
                    <a:pt x="5998" y="16387"/>
                  </a:cubicBezTo>
                  <a:cubicBezTo>
                    <a:pt x="8055" y="16387"/>
                    <a:pt x="10342" y="15649"/>
                    <a:pt x="12341" y="13253"/>
                  </a:cubicBezTo>
                  <a:cubicBezTo>
                    <a:pt x="16762" y="7943"/>
                    <a:pt x="12775" y="2512"/>
                    <a:pt x="11124" y="663"/>
                  </a:cubicBezTo>
                  <a:close/>
                </a:path>
              </a:pathLst>
            </a:custGeom>
            <a:solidFill>
              <a:srgbClr val="203E80">
                <a:alpha val="64709"/>
              </a:srgbClr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1" name="Google Shape;359;g191abe3b490_12_4485"/>
            <p:cNvSpPr/>
            <p:nvPr/>
          </p:nvSpPr>
          <p:spPr>
            <a:xfrm>
              <a:off x="3022350" y="3076325"/>
              <a:ext cx="44875" cy="169050"/>
            </a:xfrm>
            <a:custGeom>
              <a:avLst/>
              <a:ahLst/>
              <a:rect l="l" t="t" r="r" b="b"/>
              <a:pathLst>
                <a:path w="1795" h="6762" extrusionOk="0">
                  <a:moveTo>
                    <a:pt x="92" y="0"/>
                  </a:moveTo>
                  <a:lnTo>
                    <a:pt x="1" y="6657"/>
                  </a:lnTo>
                  <a:cubicBezTo>
                    <a:pt x="153" y="6728"/>
                    <a:pt x="312" y="6762"/>
                    <a:pt x="468" y="6762"/>
                  </a:cubicBezTo>
                  <a:cubicBezTo>
                    <a:pt x="781" y="6762"/>
                    <a:pt x="1085" y="6627"/>
                    <a:pt x="1308" y="6384"/>
                  </a:cubicBezTo>
                  <a:cubicBezTo>
                    <a:pt x="1642" y="6049"/>
                    <a:pt x="1794" y="5563"/>
                    <a:pt x="1794" y="5076"/>
                  </a:cubicBezTo>
                  <a:cubicBezTo>
                    <a:pt x="1764" y="4590"/>
                    <a:pt x="1673" y="4134"/>
                    <a:pt x="1521" y="3678"/>
                  </a:cubicBezTo>
                  <a:cubicBezTo>
                    <a:pt x="1125" y="2432"/>
                    <a:pt x="639" y="1186"/>
                    <a:pt x="92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2" name="Google Shape;360;g191abe3b490_12_4485"/>
            <p:cNvSpPr/>
            <p:nvPr/>
          </p:nvSpPr>
          <p:spPr>
            <a:xfrm>
              <a:off x="3001850" y="3037575"/>
              <a:ext cx="36500" cy="179350"/>
            </a:xfrm>
            <a:custGeom>
              <a:avLst/>
              <a:ahLst/>
              <a:rect l="l" t="t" r="r" b="b"/>
              <a:pathLst>
                <a:path w="1460" h="7174" extrusionOk="0">
                  <a:moveTo>
                    <a:pt x="882" y="0"/>
                  </a:moveTo>
                  <a:lnTo>
                    <a:pt x="0" y="6353"/>
                  </a:lnTo>
                  <a:lnTo>
                    <a:pt x="638" y="7174"/>
                  </a:lnTo>
                  <a:lnTo>
                    <a:pt x="1459" y="6505"/>
                  </a:lnTo>
                  <a:lnTo>
                    <a:pt x="882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3" name="Google Shape;361;g191abe3b490_12_4485"/>
            <p:cNvSpPr/>
            <p:nvPr/>
          </p:nvSpPr>
          <p:spPr>
            <a:xfrm>
              <a:off x="3022350" y="3037575"/>
              <a:ext cx="16000" cy="162625"/>
            </a:xfrm>
            <a:custGeom>
              <a:avLst/>
              <a:ahLst/>
              <a:rect l="l" t="t" r="r" b="b"/>
              <a:pathLst>
                <a:path w="640" h="6505" extrusionOk="0">
                  <a:moveTo>
                    <a:pt x="62" y="0"/>
                  </a:moveTo>
                  <a:lnTo>
                    <a:pt x="1" y="6110"/>
                  </a:lnTo>
                  <a:lnTo>
                    <a:pt x="639" y="6505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4" name="Google Shape;362;g191abe3b490_12_4485"/>
            <p:cNvSpPr/>
            <p:nvPr/>
          </p:nvSpPr>
          <p:spPr>
            <a:xfrm>
              <a:off x="2986650" y="3190225"/>
              <a:ext cx="63150" cy="52375"/>
            </a:xfrm>
            <a:custGeom>
              <a:avLst/>
              <a:ahLst/>
              <a:rect l="l" t="t" r="r" b="b"/>
              <a:pathLst>
                <a:path w="2526" h="2095" extrusionOk="0">
                  <a:moveTo>
                    <a:pt x="1287" y="1"/>
                  </a:moveTo>
                  <a:cubicBezTo>
                    <a:pt x="1143" y="1"/>
                    <a:pt x="995" y="31"/>
                    <a:pt x="851" y="95"/>
                  </a:cubicBezTo>
                  <a:cubicBezTo>
                    <a:pt x="0" y="429"/>
                    <a:pt x="0" y="1676"/>
                    <a:pt x="851" y="2010"/>
                  </a:cubicBezTo>
                  <a:cubicBezTo>
                    <a:pt x="992" y="2068"/>
                    <a:pt x="1131" y="2094"/>
                    <a:pt x="1266" y="2094"/>
                  </a:cubicBezTo>
                  <a:cubicBezTo>
                    <a:pt x="1973" y="2094"/>
                    <a:pt x="2526" y="1358"/>
                    <a:pt x="2219" y="642"/>
                  </a:cubicBezTo>
                  <a:cubicBezTo>
                    <a:pt x="2062" y="239"/>
                    <a:pt x="1691" y="1"/>
                    <a:pt x="128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5" name="Google Shape;363;g191abe3b490_12_4485"/>
            <p:cNvSpPr/>
            <p:nvPr/>
          </p:nvSpPr>
          <p:spPr>
            <a:xfrm>
              <a:off x="2980225" y="3188675"/>
              <a:ext cx="65725" cy="55650"/>
            </a:xfrm>
            <a:custGeom>
              <a:avLst/>
              <a:ahLst/>
              <a:rect l="l" t="t" r="r" b="b"/>
              <a:pathLst>
                <a:path w="2629" h="2226" extrusionOk="0">
                  <a:moveTo>
                    <a:pt x="1524" y="1"/>
                  </a:moveTo>
                  <a:cubicBezTo>
                    <a:pt x="1247" y="1"/>
                    <a:pt x="970" y="97"/>
                    <a:pt x="744" y="279"/>
                  </a:cubicBezTo>
                  <a:cubicBezTo>
                    <a:pt x="1" y="962"/>
                    <a:pt x="507" y="2226"/>
                    <a:pt x="1495" y="2226"/>
                  </a:cubicBezTo>
                  <a:cubicBezTo>
                    <a:pt x="1518" y="2226"/>
                    <a:pt x="1541" y="2225"/>
                    <a:pt x="1564" y="2224"/>
                  </a:cubicBezTo>
                  <a:cubicBezTo>
                    <a:pt x="1929" y="2193"/>
                    <a:pt x="2294" y="1981"/>
                    <a:pt x="2476" y="1677"/>
                  </a:cubicBezTo>
                  <a:cubicBezTo>
                    <a:pt x="2598" y="1434"/>
                    <a:pt x="2628" y="1190"/>
                    <a:pt x="2567" y="947"/>
                  </a:cubicBezTo>
                  <a:cubicBezTo>
                    <a:pt x="2567" y="856"/>
                    <a:pt x="2537" y="765"/>
                    <a:pt x="2476" y="704"/>
                  </a:cubicBezTo>
                  <a:lnTo>
                    <a:pt x="2476" y="704"/>
                  </a:lnTo>
                  <a:cubicBezTo>
                    <a:pt x="2476" y="704"/>
                    <a:pt x="2507" y="795"/>
                    <a:pt x="2507" y="947"/>
                  </a:cubicBezTo>
                  <a:cubicBezTo>
                    <a:pt x="2537" y="1190"/>
                    <a:pt x="2507" y="1403"/>
                    <a:pt x="2385" y="1616"/>
                  </a:cubicBezTo>
                  <a:cubicBezTo>
                    <a:pt x="2203" y="1890"/>
                    <a:pt x="1899" y="2072"/>
                    <a:pt x="1564" y="2102"/>
                  </a:cubicBezTo>
                  <a:cubicBezTo>
                    <a:pt x="1557" y="2102"/>
                    <a:pt x="1549" y="2103"/>
                    <a:pt x="1542" y="2103"/>
                  </a:cubicBezTo>
                  <a:cubicBezTo>
                    <a:pt x="506" y="2103"/>
                    <a:pt x="666" y="134"/>
                    <a:pt x="1597" y="134"/>
                  </a:cubicBezTo>
                  <a:cubicBezTo>
                    <a:pt x="1654" y="134"/>
                    <a:pt x="1714" y="141"/>
                    <a:pt x="1777" y="157"/>
                  </a:cubicBezTo>
                  <a:cubicBezTo>
                    <a:pt x="1990" y="187"/>
                    <a:pt x="2172" y="309"/>
                    <a:pt x="2324" y="491"/>
                  </a:cubicBezTo>
                  <a:cubicBezTo>
                    <a:pt x="2446" y="613"/>
                    <a:pt x="2476" y="704"/>
                    <a:pt x="2476" y="704"/>
                  </a:cubicBezTo>
                  <a:cubicBezTo>
                    <a:pt x="2476" y="613"/>
                    <a:pt x="2446" y="522"/>
                    <a:pt x="2385" y="461"/>
                  </a:cubicBezTo>
                  <a:cubicBezTo>
                    <a:pt x="2233" y="248"/>
                    <a:pt x="2020" y="96"/>
                    <a:pt x="1807" y="35"/>
                  </a:cubicBezTo>
                  <a:cubicBezTo>
                    <a:pt x="1714" y="12"/>
                    <a:pt x="1619" y="1"/>
                    <a:pt x="152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6" name="Google Shape;364;g191abe3b490_12_4485"/>
            <p:cNvSpPr/>
            <p:nvPr/>
          </p:nvSpPr>
          <p:spPr>
            <a:xfrm>
              <a:off x="2994250" y="3196900"/>
              <a:ext cx="47525" cy="39125"/>
            </a:xfrm>
            <a:custGeom>
              <a:avLst/>
              <a:ahLst/>
              <a:rect l="l" t="t" r="r" b="b"/>
              <a:pathLst>
                <a:path w="1901" h="1565" extrusionOk="0">
                  <a:moveTo>
                    <a:pt x="959" y="0"/>
                  </a:moveTo>
                  <a:cubicBezTo>
                    <a:pt x="852" y="0"/>
                    <a:pt x="743" y="23"/>
                    <a:pt x="639" y="71"/>
                  </a:cubicBezTo>
                  <a:cubicBezTo>
                    <a:pt x="0" y="345"/>
                    <a:pt x="0" y="1257"/>
                    <a:pt x="669" y="1500"/>
                  </a:cubicBezTo>
                  <a:cubicBezTo>
                    <a:pt x="773" y="1544"/>
                    <a:pt x="877" y="1565"/>
                    <a:pt x="977" y="1565"/>
                  </a:cubicBezTo>
                  <a:cubicBezTo>
                    <a:pt x="1491" y="1565"/>
                    <a:pt x="1901" y="1026"/>
                    <a:pt x="1672" y="466"/>
                  </a:cubicBezTo>
                  <a:cubicBezTo>
                    <a:pt x="1538" y="176"/>
                    <a:pt x="1256" y="0"/>
                    <a:pt x="959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7" name="Google Shape;365;g191abe3b490_12_4485"/>
            <p:cNvSpPr/>
            <p:nvPr/>
          </p:nvSpPr>
          <p:spPr>
            <a:xfrm>
              <a:off x="2200150" y="3571575"/>
              <a:ext cx="484075" cy="399450"/>
            </a:xfrm>
            <a:custGeom>
              <a:avLst/>
              <a:ahLst/>
              <a:rect l="l" t="t" r="r" b="b"/>
              <a:pathLst>
                <a:path w="19363" h="15978" extrusionOk="0">
                  <a:moveTo>
                    <a:pt x="18686" y="12043"/>
                  </a:moveTo>
                  <a:lnTo>
                    <a:pt x="18686" y="12043"/>
                  </a:lnTo>
                  <a:cubicBezTo>
                    <a:pt x="18661" y="12051"/>
                    <a:pt x="18636" y="12059"/>
                    <a:pt x="18603" y="12075"/>
                  </a:cubicBezTo>
                  <a:cubicBezTo>
                    <a:pt x="18631" y="12066"/>
                    <a:pt x="18659" y="12055"/>
                    <a:pt x="18686" y="12043"/>
                  </a:cubicBezTo>
                  <a:close/>
                  <a:moveTo>
                    <a:pt x="15974" y="1"/>
                  </a:moveTo>
                  <a:cubicBezTo>
                    <a:pt x="15939" y="1"/>
                    <a:pt x="15904" y="3"/>
                    <a:pt x="15867" y="8"/>
                  </a:cubicBezTo>
                  <a:cubicBezTo>
                    <a:pt x="15654" y="39"/>
                    <a:pt x="15472" y="69"/>
                    <a:pt x="15259" y="130"/>
                  </a:cubicBezTo>
                  <a:lnTo>
                    <a:pt x="14104" y="434"/>
                  </a:lnTo>
                  <a:lnTo>
                    <a:pt x="11673" y="1042"/>
                  </a:lnTo>
                  <a:lnTo>
                    <a:pt x="882" y="3838"/>
                  </a:lnTo>
                  <a:cubicBezTo>
                    <a:pt x="335" y="3990"/>
                    <a:pt x="1" y="4507"/>
                    <a:pt x="92" y="5054"/>
                  </a:cubicBezTo>
                  <a:cubicBezTo>
                    <a:pt x="213" y="5540"/>
                    <a:pt x="305" y="6027"/>
                    <a:pt x="426" y="6483"/>
                  </a:cubicBezTo>
                  <a:lnTo>
                    <a:pt x="1095" y="9249"/>
                  </a:lnTo>
                  <a:lnTo>
                    <a:pt x="2372" y="14477"/>
                  </a:lnTo>
                  <a:cubicBezTo>
                    <a:pt x="2432" y="14689"/>
                    <a:pt x="2493" y="14902"/>
                    <a:pt x="2524" y="15115"/>
                  </a:cubicBezTo>
                  <a:cubicBezTo>
                    <a:pt x="2584" y="15328"/>
                    <a:pt x="2676" y="15540"/>
                    <a:pt x="2858" y="15692"/>
                  </a:cubicBezTo>
                  <a:cubicBezTo>
                    <a:pt x="3010" y="15844"/>
                    <a:pt x="3223" y="15966"/>
                    <a:pt x="3466" y="15966"/>
                  </a:cubicBezTo>
                  <a:cubicBezTo>
                    <a:pt x="3519" y="15974"/>
                    <a:pt x="3572" y="15977"/>
                    <a:pt x="3625" y="15977"/>
                  </a:cubicBezTo>
                  <a:cubicBezTo>
                    <a:pt x="3783" y="15977"/>
                    <a:pt x="3937" y="15943"/>
                    <a:pt x="4074" y="15875"/>
                  </a:cubicBezTo>
                  <a:lnTo>
                    <a:pt x="6353" y="15297"/>
                  </a:lnTo>
                  <a:lnTo>
                    <a:pt x="10457" y="14233"/>
                  </a:lnTo>
                  <a:lnTo>
                    <a:pt x="16414" y="12653"/>
                  </a:lnTo>
                  <a:lnTo>
                    <a:pt x="18025" y="12227"/>
                  </a:lnTo>
                  <a:lnTo>
                    <a:pt x="18451" y="12106"/>
                  </a:lnTo>
                  <a:lnTo>
                    <a:pt x="18572" y="12045"/>
                  </a:lnTo>
                  <a:lnTo>
                    <a:pt x="18451" y="12075"/>
                  </a:lnTo>
                  <a:lnTo>
                    <a:pt x="18025" y="12197"/>
                  </a:lnTo>
                  <a:lnTo>
                    <a:pt x="16384" y="12562"/>
                  </a:lnTo>
                  <a:lnTo>
                    <a:pt x="10426" y="14081"/>
                  </a:lnTo>
                  <a:lnTo>
                    <a:pt x="6323" y="15145"/>
                  </a:lnTo>
                  <a:lnTo>
                    <a:pt x="4043" y="15723"/>
                  </a:lnTo>
                  <a:cubicBezTo>
                    <a:pt x="3861" y="15784"/>
                    <a:pt x="3679" y="15814"/>
                    <a:pt x="3466" y="15814"/>
                  </a:cubicBezTo>
                  <a:cubicBezTo>
                    <a:pt x="3283" y="15784"/>
                    <a:pt x="3101" y="15692"/>
                    <a:pt x="2979" y="15571"/>
                  </a:cubicBezTo>
                  <a:cubicBezTo>
                    <a:pt x="2828" y="15419"/>
                    <a:pt x="2736" y="15267"/>
                    <a:pt x="2706" y="15054"/>
                  </a:cubicBezTo>
                  <a:lnTo>
                    <a:pt x="2554" y="14446"/>
                  </a:lnTo>
                  <a:cubicBezTo>
                    <a:pt x="2159" y="12774"/>
                    <a:pt x="1733" y="11012"/>
                    <a:pt x="1277" y="9218"/>
                  </a:cubicBezTo>
                  <a:cubicBezTo>
                    <a:pt x="1065" y="8306"/>
                    <a:pt x="852" y="7394"/>
                    <a:pt x="609" y="6452"/>
                  </a:cubicBezTo>
                  <a:cubicBezTo>
                    <a:pt x="517" y="5966"/>
                    <a:pt x="396" y="5510"/>
                    <a:pt x="274" y="5024"/>
                  </a:cubicBezTo>
                  <a:cubicBezTo>
                    <a:pt x="213" y="4568"/>
                    <a:pt x="487" y="4142"/>
                    <a:pt x="943" y="4021"/>
                  </a:cubicBezTo>
                  <a:lnTo>
                    <a:pt x="11733" y="1224"/>
                  </a:lnTo>
                  <a:lnTo>
                    <a:pt x="14165" y="586"/>
                  </a:lnTo>
                  <a:lnTo>
                    <a:pt x="15320" y="282"/>
                  </a:lnTo>
                  <a:cubicBezTo>
                    <a:pt x="15503" y="252"/>
                    <a:pt x="15685" y="191"/>
                    <a:pt x="15867" y="160"/>
                  </a:cubicBezTo>
                  <a:cubicBezTo>
                    <a:pt x="16050" y="160"/>
                    <a:pt x="16232" y="191"/>
                    <a:pt x="16384" y="282"/>
                  </a:cubicBezTo>
                  <a:cubicBezTo>
                    <a:pt x="16536" y="373"/>
                    <a:pt x="16658" y="495"/>
                    <a:pt x="16718" y="677"/>
                  </a:cubicBezTo>
                  <a:cubicBezTo>
                    <a:pt x="16779" y="829"/>
                    <a:pt x="16840" y="1011"/>
                    <a:pt x="16870" y="1194"/>
                  </a:cubicBezTo>
                  <a:cubicBezTo>
                    <a:pt x="16962" y="1528"/>
                    <a:pt x="17053" y="1893"/>
                    <a:pt x="17144" y="2227"/>
                  </a:cubicBezTo>
                  <a:cubicBezTo>
                    <a:pt x="17296" y="2926"/>
                    <a:pt x="17478" y="3595"/>
                    <a:pt x="17630" y="4203"/>
                  </a:cubicBezTo>
                  <a:cubicBezTo>
                    <a:pt x="18238" y="6726"/>
                    <a:pt x="18755" y="8762"/>
                    <a:pt x="19089" y="10191"/>
                  </a:cubicBezTo>
                  <a:cubicBezTo>
                    <a:pt x="19150" y="10343"/>
                    <a:pt x="19180" y="10525"/>
                    <a:pt x="19211" y="10677"/>
                  </a:cubicBezTo>
                  <a:cubicBezTo>
                    <a:pt x="19272" y="10829"/>
                    <a:pt x="19302" y="10951"/>
                    <a:pt x="19302" y="11103"/>
                  </a:cubicBezTo>
                  <a:cubicBezTo>
                    <a:pt x="19302" y="11346"/>
                    <a:pt x="19211" y="11559"/>
                    <a:pt x="19059" y="11741"/>
                  </a:cubicBezTo>
                  <a:cubicBezTo>
                    <a:pt x="18956" y="11869"/>
                    <a:pt x="18832" y="11976"/>
                    <a:pt x="18686" y="12043"/>
                  </a:cubicBezTo>
                  <a:lnTo>
                    <a:pt x="18686" y="12043"/>
                  </a:lnTo>
                  <a:cubicBezTo>
                    <a:pt x="18707" y="12036"/>
                    <a:pt x="18728" y="12028"/>
                    <a:pt x="18755" y="12015"/>
                  </a:cubicBezTo>
                  <a:cubicBezTo>
                    <a:pt x="18907" y="11954"/>
                    <a:pt x="19028" y="11863"/>
                    <a:pt x="19120" y="11771"/>
                  </a:cubicBezTo>
                  <a:cubicBezTo>
                    <a:pt x="19272" y="11589"/>
                    <a:pt x="19363" y="11346"/>
                    <a:pt x="19363" y="11103"/>
                  </a:cubicBezTo>
                  <a:cubicBezTo>
                    <a:pt x="19363" y="10951"/>
                    <a:pt x="19363" y="10799"/>
                    <a:pt x="19302" y="10647"/>
                  </a:cubicBezTo>
                  <a:cubicBezTo>
                    <a:pt x="19272" y="10495"/>
                    <a:pt x="19241" y="10312"/>
                    <a:pt x="19180" y="10160"/>
                  </a:cubicBezTo>
                  <a:cubicBezTo>
                    <a:pt x="18846" y="8732"/>
                    <a:pt x="18360" y="6695"/>
                    <a:pt x="17782" y="4173"/>
                  </a:cubicBezTo>
                  <a:cubicBezTo>
                    <a:pt x="17630" y="3534"/>
                    <a:pt x="17448" y="2866"/>
                    <a:pt x="17296" y="2197"/>
                  </a:cubicBezTo>
                  <a:cubicBezTo>
                    <a:pt x="17205" y="1862"/>
                    <a:pt x="17144" y="1498"/>
                    <a:pt x="17053" y="1133"/>
                  </a:cubicBezTo>
                  <a:cubicBezTo>
                    <a:pt x="16992" y="951"/>
                    <a:pt x="16962" y="768"/>
                    <a:pt x="16901" y="586"/>
                  </a:cubicBezTo>
                  <a:cubicBezTo>
                    <a:pt x="16779" y="403"/>
                    <a:pt x="16627" y="252"/>
                    <a:pt x="16445" y="160"/>
                  </a:cubicBezTo>
                  <a:cubicBezTo>
                    <a:pt x="16294" y="60"/>
                    <a:pt x="16143" y="1"/>
                    <a:pt x="159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8" name="Google Shape;366;g191abe3b490_12_4485"/>
            <p:cNvSpPr/>
            <p:nvPr/>
          </p:nvSpPr>
          <p:spPr>
            <a:xfrm>
              <a:off x="2395450" y="3724500"/>
              <a:ext cx="115525" cy="121625"/>
            </a:xfrm>
            <a:custGeom>
              <a:avLst/>
              <a:ahLst/>
              <a:rect l="l" t="t" r="r" b="b"/>
              <a:pathLst>
                <a:path w="4621" h="4865" extrusionOk="0">
                  <a:moveTo>
                    <a:pt x="0" y="1"/>
                  </a:moveTo>
                  <a:lnTo>
                    <a:pt x="578" y="2433"/>
                  </a:lnTo>
                  <a:lnTo>
                    <a:pt x="1155" y="4864"/>
                  </a:lnTo>
                  <a:lnTo>
                    <a:pt x="2888" y="3132"/>
                  </a:lnTo>
                  <a:lnTo>
                    <a:pt x="4621" y="1399"/>
                  </a:lnTo>
                  <a:lnTo>
                    <a:pt x="2310" y="70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89" name="Google Shape;367;g191abe3b490_12_4485"/>
            <p:cNvSpPr/>
            <p:nvPr/>
          </p:nvSpPr>
          <p:spPr>
            <a:xfrm>
              <a:off x="1582350" y="3302775"/>
              <a:ext cx="367075" cy="321450"/>
            </a:xfrm>
            <a:custGeom>
              <a:avLst/>
              <a:ahLst/>
              <a:rect l="l" t="t" r="r" b="b"/>
              <a:pathLst>
                <a:path w="14683" h="12858" extrusionOk="0">
                  <a:moveTo>
                    <a:pt x="12190" y="0"/>
                  </a:moveTo>
                  <a:lnTo>
                    <a:pt x="1" y="3131"/>
                  </a:lnTo>
                  <a:lnTo>
                    <a:pt x="2524" y="12858"/>
                  </a:lnTo>
                  <a:lnTo>
                    <a:pt x="14682" y="9727"/>
                  </a:lnTo>
                  <a:lnTo>
                    <a:pt x="12190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0" name="Google Shape;368;g191abe3b490_12_4485"/>
            <p:cNvSpPr/>
            <p:nvPr/>
          </p:nvSpPr>
          <p:spPr>
            <a:xfrm>
              <a:off x="1583875" y="3292125"/>
              <a:ext cx="368575" cy="322225"/>
            </a:xfrm>
            <a:custGeom>
              <a:avLst/>
              <a:ahLst/>
              <a:rect l="l" t="t" r="r" b="b"/>
              <a:pathLst>
                <a:path w="14743" h="12889" extrusionOk="0">
                  <a:moveTo>
                    <a:pt x="12129" y="1"/>
                  </a:moveTo>
                  <a:lnTo>
                    <a:pt x="11977" y="31"/>
                  </a:lnTo>
                  <a:lnTo>
                    <a:pt x="11308" y="214"/>
                  </a:lnTo>
                  <a:lnTo>
                    <a:pt x="8816" y="852"/>
                  </a:lnTo>
                  <a:lnTo>
                    <a:pt x="31" y="3132"/>
                  </a:lnTo>
                  <a:lnTo>
                    <a:pt x="1" y="3132"/>
                  </a:lnTo>
                  <a:lnTo>
                    <a:pt x="1" y="3162"/>
                  </a:lnTo>
                  <a:lnTo>
                    <a:pt x="2524" y="12858"/>
                  </a:lnTo>
                  <a:lnTo>
                    <a:pt x="2524" y="12889"/>
                  </a:lnTo>
                  <a:lnTo>
                    <a:pt x="2554" y="12889"/>
                  </a:lnTo>
                  <a:lnTo>
                    <a:pt x="14712" y="9727"/>
                  </a:lnTo>
                  <a:lnTo>
                    <a:pt x="14743" y="9727"/>
                  </a:lnTo>
                  <a:lnTo>
                    <a:pt x="14743" y="9697"/>
                  </a:lnTo>
                  <a:cubicBezTo>
                    <a:pt x="13983" y="6779"/>
                    <a:pt x="13345" y="4347"/>
                    <a:pt x="12889" y="2645"/>
                  </a:cubicBezTo>
                  <a:lnTo>
                    <a:pt x="12372" y="669"/>
                  </a:lnTo>
                  <a:cubicBezTo>
                    <a:pt x="12311" y="457"/>
                    <a:pt x="12281" y="274"/>
                    <a:pt x="12250" y="183"/>
                  </a:cubicBezTo>
                  <a:lnTo>
                    <a:pt x="12189" y="1"/>
                  </a:lnTo>
                  <a:lnTo>
                    <a:pt x="12189" y="1"/>
                  </a:lnTo>
                  <a:cubicBezTo>
                    <a:pt x="12189" y="1"/>
                    <a:pt x="12189" y="62"/>
                    <a:pt x="12220" y="183"/>
                  </a:cubicBezTo>
                  <a:lnTo>
                    <a:pt x="12372" y="700"/>
                  </a:lnTo>
                  <a:cubicBezTo>
                    <a:pt x="12493" y="1156"/>
                    <a:pt x="12645" y="1825"/>
                    <a:pt x="12858" y="2676"/>
                  </a:cubicBezTo>
                  <a:cubicBezTo>
                    <a:pt x="13313" y="4374"/>
                    <a:pt x="13919" y="6798"/>
                    <a:pt x="14676" y="9706"/>
                  </a:cubicBezTo>
                  <a:lnTo>
                    <a:pt x="14676" y="9706"/>
                  </a:lnTo>
                  <a:lnTo>
                    <a:pt x="2575" y="12822"/>
                  </a:lnTo>
                  <a:lnTo>
                    <a:pt x="2575" y="12822"/>
                  </a:lnTo>
                  <a:cubicBezTo>
                    <a:pt x="1669" y="9348"/>
                    <a:pt x="823" y="6056"/>
                    <a:pt x="67" y="3183"/>
                  </a:cubicBezTo>
                  <a:lnTo>
                    <a:pt x="67" y="3183"/>
                  </a:lnTo>
                  <a:lnTo>
                    <a:pt x="8816" y="913"/>
                  </a:lnTo>
                  <a:lnTo>
                    <a:pt x="11308" y="244"/>
                  </a:lnTo>
                  <a:lnTo>
                    <a:pt x="11946" y="92"/>
                  </a:lnTo>
                  <a:lnTo>
                    <a:pt x="12129" y="31"/>
                  </a:lnTo>
                  <a:lnTo>
                    <a:pt x="12189" y="31"/>
                  </a:lnTo>
                  <a:lnTo>
                    <a:pt x="12129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1" name="Google Shape;369;g191abe3b490_12_4485"/>
            <p:cNvSpPr/>
            <p:nvPr/>
          </p:nvSpPr>
          <p:spPr>
            <a:xfrm>
              <a:off x="1599075" y="3311125"/>
              <a:ext cx="337425" cy="285750"/>
            </a:xfrm>
            <a:custGeom>
              <a:avLst/>
              <a:ahLst/>
              <a:rect l="l" t="t" r="r" b="b"/>
              <a:pathLst>
                <a:path w="13497" h="11430" extrusionOk="0">
                  <a:moveTo>
                    <a:pt x="11308" y="1"/>
                  </a:moveTo>
                  <a:lnTo>
                    <a:pt x="1" y="2949"/>
                  </a:lnTo>
                  <a:lnTo>
                    <a:pt x="2220" y="11429"/>
                  </a:lnTo>
                  <a:lnTo>
                    <a:pt x="13496" y="8481"/>
                  </a:lnTo>
                  <a:lnTo>
                    <a:pt x="11308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2" name="Google Shape;370;g191abe3b490_12_4485"/>
            <p:cNvSpPr/>
            <p:nvPr/>
          </p:nvSpPr>
          <p:spPr>
            <a:xfrm>
              <a:off x="1654550" y="3439550"/>
              <a:ext cx="281950" cy="157325"/>
            </a:xfrm>
            <a:custGeom>
              <a:avLst/>
              <a:ahLst/>
              <a:rect l="l" t="t" r="r" b="b"/>
              <a:pathLst>
                <a:path w="11278" h="6293" extrusionOk="0">
                  <a:moveTo>
                    <a:pt x="2554" y="1"/>
                  </a:moveTo>
                  <a:lnTo>
                    <a:pt x="1" y="6292"/>
                  </a:lnTo>
                  <a:lnTo>
                    <a:pt x="11277" y="3344"/>
                  </a:lnTo>
                  <a:lnTo>
                    <a:pt x="7083" y="456"/>
                  </a:lnTo>
                  <a:lnTo>
                    <a:pt x="5867" y="2645"/>
                  </a:lnTo>
                  <a:lnTo>
                    <a:pt x="2554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3" name="Google Shape;371;g191abe3b490_12_4485"/>
            <p:cNvSpPr/>
            <p:nvPr/>
          </p:nvSpPr>
          <p:spPr>
            <a:xfrm>
              <a:off x="1750300" y="3383100"/>
              <a:ext cx="55100" cy="46125"/>
            </a:xfrm>
            <a:custGeom>
              <a:avLst/>
              <a:ahLst/>
              <a:rect l="l" t="t" r="r" b="b"/>
              <a:pathLst>
                <a:path w="2204" h="1845" extrusionOk="0">
                  <a:moveTo>
                    <a:pt x="1168" y="0"/>
                  </a:moveTo>
                  <a:cubicBezTo>
                    <a:pt x="1083" y="0"/>
                    <a:pt x="997" y="13"/>
                    <a:pt x="912" y="40"/>
                  </a:cubicBezTo>
                  <a:cubicBezTo>
                    <a:pt x="122" y="252"/>
                    <a:pt x="0" y="1316"/>
                    <a:pt x="700" y="1711"/>
                  </a:cubicBezTo>
                  <a:cubicBezTo>
                    <a:pt x="850" y="1803"/>
                    <a:pt x="1008" y="1844"/>
                    <a:pt x="1161" y="1844"/>
                  </a:cubicBezTo>
                  <a:cubicBezTo>
                    <a:pt x="1716" y="1844"/>
                    <a:pt x="2204" y="1304"/>
                    <a:pt x="2037" y="708"/>
                  </a:cubicBezTo>
                  <a:cubicBezTo>
                    <a:pt x="1937" y="282"/>
                    <a:pt x="1567" y="0"/>
                    <a:pt x="1168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4" name="Google Shape;372;g191abe3b490_12_4485"/>
            <p:cNvSpPr/>
            <p:nvPr/>
          </p:nvSpPr>
          <p:spPr>
            <a:xfrm>
              <a:off x="1654550" y="3439550"/>
              <a:ext cx="281950" cy="157325"/>
            </a:xfrm>
            <a:custGeom>
              <a:avLst/>
              <a:ahLst/>
              <a:rect l="l" t="t" r="r" b="b"/>
              <a:pathLst>
                <a:path w="11278" h="6293" extrusionOk="0">
                  <a:moveTo>
                    <a:pt x="2554" y="1"/>
                  </a:moveTo>
                  <a:lnTo>
                    <a:pt x="1" y="6292"/>
                  </a:lnTo>
                  <a:lnTo>
                    <a:pt x="11277" y="3344"/>
                  </a:lnTo>
                  <a:lnTo>
                    <a:pt x="7083" y="456"/>
                  </a:lnTo>
                  <a:lnTo>
                    <a:pt x="5867" y="2645"/>
                  </a:lnTo>
                  <a:lnTo>
                    <a:pt x="2554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5" name="Google Shape;373;g191abe3b490_12_4485"/>
            <p:cNvSpPr/>
            <p:nvPr/>
          </p:nvSpPr>
          <p:spPr>
            <a:xfrm>
              <a:off x="1750300" y="3383100"/>
              <a:ext cx="55100" cy="46125"/>
            </a:xfrm>
            <a:custGeom>
              <a:avLst/>
              <a:ahLst/>
              <a:rect l="l" t="t" r="r" b="b"/>
              <a:pathLst>
                <a:path w="2204" h="1845" extrusionOk="0">
                  <a:moveTo>
                    <a:pt x="1168" y="0"/>
                  </a:moveTo>
                  <a:cubicBezTo>
                    <a:pt x="1083" y="0"/>
                    <a:pt x="997" y="13"/>
                    <a:pt x="912" y="40"/>
                  </a:cubicBezTo>
                  <a:cubicBezTo>
                    <a:pt x="122" y="252"/>
                    <a:pt x="0" y="1316"/>
                    <a:pt x="700" y="1711"/>
                  </a:cubicBezTo>
                  <a:cubicBezTo>
                    <a:pt x="850" y="1803"/>
                    <a:pt x="1008" y="1844"/>
                    <a:pt x="1161" y="1844"/>
                  </a:cubicBezTo>
                  <a:cubicBezTo>
                    <a:pt x="1716" y="1844"/>
                    <a:pt x="2204" y="1304"/>
                    <a:pt x="2037" y="708"/>
                  </a:cubicBezTo>
                  <a:cubicBezTo>
                    <a:pt x="1937" y="282"/>
                    <a:pt x="1567" y="0"/>
                    <a:pt x="116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6" name="Google Shape;374;g191abe3b490_12_4485"/>
            <p:cNvSpPr/>
            <p:nvPr/>
          </p:nvSpPr>
          <p:spPr>
            <a:xfrm>
              <a:off x="1735850" y="3083150"/>
              <a:ext cx="499275" cy="411125"/>
            </a:xfrm>
            <a:custGeom>
              <a:avLst/>
              <a:ahLst/>
              <a:rect l="l" t="t" r="r" b="b"/>
              <a:pathLst>
                <a:path w="19971" h="16445" extrusionOk="0">
                  <a:moveTo>
                    <a:pt x="18907" y="1"/>
                  </a:moveTo>
                  <a:lnTo>
                    <a:pt x="1" y="1338"/>
                  </a:lnTo>
                  <a:lnTo>
                    <a:pt x="1065" y="16445"/>
                  </a:lnTo>
                  <a:lnTo>
                    <a:pt x="19971" y="15138"/>
                  </a:lnTo>
                  <a:lnTo>
                    <a:pt x="18907" y="1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7" name="Google Shape;375;g191abe3b490_12_4485"/>
            <p:cNvSpPr/>
            <p:nvPr/>
          </p:nvSpPr>
          <p:spPr>
            <a:xfrm>
              <a:off x="1734350" y="3082400"/>
              <a:ext cx="501550" cy="412650"/>
            </a:xfrm>
            <a:custGeom>
              <a:avLst/>
              <a:ahLst/>
              <a:rect l="l" t="t" r="r" b="b"/>
              <a:pathLst>
                <a:path w="20062" h="16506" extrusionOk="0">
                  <a:moveTo>
                    <a:pt x="18960" y="31"/>
                  </a:moveTo>
                  <a:cubicBezTo>
                    <a:pt x="18954" y="72"/>
                    <a:pt x="18947" y="153"/>
                    <a:pt x="18967" y="274"/>
                  </a:cubicBezTo>
                  <a:cubicBezTo>
                    <a:pt x="18967" y="487"/>
                    <a:pt x="18997" y="760"/>
                    <a:pt x="18997" y="1095"/>
                  </a:cubicBezTo>
                  <a:cubicBezTo>
                    <a:pt x="19058" y="1794"/>
                    <a:pt x="19119" y="2858"/>
                    <a:pt x="19210" y="4165"/>
                  </a:cubicBezTo>
                  <a:cubicBezTo>
                    <a:pt x="19392" y="6798"/>
                    <a:pt x="19664" y="10547"/>
                    <a:pt x="19966" y="15081"/>
                  </a:cubicBezTo>
                  <a:lnTo>
                    <a:pt x="19966" y="15081"/>
                  </a:lnTo>
                  <a:lnTo>
                    <a:pt x="1151" y="16410"/>
                  </a:lnTo>
                  <a:lnTo>
                    <a:pt x="1151" y="16410"/>
                  </a:lnTo>
                  <a:cubicBezTo>
                    <a:pt x="759" y="10986"/>
                    <a:pt x="397" y="5862"/>
                    <a:pt x="95" y="1394"/>
                  </a:cubicBezTo>
                  <a:lnTo>
                    <a:pt x="95" y="1394"/>
                  </a:lnTo>
                  <a:lnTo>
                    <a:pt x="13709" y="396"/>
                  </a:lnTo>
                  <a:lnTo>
                    <a:pt x="17599" y="122"/>
                  </a:lnTo>
                  <a:lnTo>
                    <a:pt x="18633" y="31"/>
                  </a:lnTo>
                  <a:close/>
                  <a:moveTo>
                    <a:pt x="18602" y="1"/>
                  </a:moveTo>
                  <a:lnTo>
                    <a:pt x="17569" y="61"/>
                  </a:lnTo>
                  <a:lnTo>
                    <a:pt x="13709" y="335"/>
                  </a:lnTo>
                  <a:lnTo>
                    <a:pt x="31" y="1277"/>
                  </a:lnTo>
                  <a:lnTo>
                    <a:pt x="0" y="1277"/>
                  </a:lnTo>
                  <a:lnTo>
                    <a:pt x="0" y="1308"/>
                  </a:lnTo>
                  <a:cubicBezTo>
                    <a:pt x="274" y="5806"/>
                    <a:pt x="669" y="10973"/>
                    <a:pt x="1034" y="16445"/>
                  </a:cubicBezTo>
                  <a:lnTo>
                    <a:pt x="1034" y="16505"/>
                  </a:lnTo>
                  <a:lnTo>
                    <a:pt x="1094" y="16505"/>
                  </a:lnTo>
                  <a:lnTo>
                    <a:pt x="20031" y="15168"/>
                  </a:lnTo>
                  <a:lnTo>
                    <a:pt x="20061" y="15168"/>
                  </a:lnTo>
                  <a:lnTo>
                    <a:pt x="20061" y="15107"/>
                  </a:lnTo>
                  <a:cubicBezTo>
                    <a:pt x="19727" y="10548"/>
                    <a:pt x="19453" y="6779"/>
                    <a:pt x="19271" y="4104"/>
                  </a:cubicBezTo>
                  <a:cubicBezTo>
                    <a:pt x="19180" y="2827"/>
                    <a:pt x="19089" y="1794"/>
                    <a:pt x="19058" y="1064"/>
                  </a:cubicBezTo>
                  <a:cubicBezTo>
                    <a:pt x="19028" y="730"/>
                    <a:pt x="18997" y="457"/>
                    <a:pt x="18997" y="274"/>
                  </a:cubicBezTo>
                  <a:lnTo>
                    <a:pt x="18967" y="1"/>
                  </a:lnTo>
                  <a:cubicBezTo>
                    <a:pt x="18967" y="1"/>
                    <a:pt x="18964" y="10"/>
                    <a:pt x="18961" y="29"/>
                  </a:cubicBezTo>
                  <a:lnTo>
                    <a:pt x="18961" y="29"/>
                  </a:lnTo>
                  <a:lnTo>
                    <a:pt x="18845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8" name="Google Shape;376;g191abe3b490_12_4485"/>
            <p:cNvSpPr/>
            <p:nvPr/>
          </p:nvSpPr>
          <p:spPr>
            <a:xfrm>
              <a:off x="1753350" y="3108250"/>
              <a:ext cx="463550" cy="360950"/>
            </a:xfrm>
            <a:custGeom>
              <a:avLst/>
              <a:ahLst/>
              <a:rect l="l" t="t" r="r" b="b"/>
              <a:pathLst>
                <a:path w="18542" h="14438" extrusionOk="0">
                  <a:moveTo>
                    <a:pt x="17599" y="0"/>
                  </a:moveTo>
                  <a:lnTo>
                    <a:pt x="0" y="1246"/>
                  </a:lnTo>
                  <a:lnTo>
                    <a:pt x="942" y="14438"/>
                  </a:lnTo>
                  <a:lnTo>
                    <a:pt x="18541" y="13222"/>
                  </a:lnTo>
                  <a:lnTo>
                    <a:pt x="17599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99" name="Google Shape;377;g191abe3b490_12_4485"/>
            <p:cNvSpPr/>
            <p:nvPr/>
          </p:nvSpPr>
          <p:spPr>
            <a:xfrm>
              <a:off x="1776900" y="3253375"/>
              <a:ext cx="440000" cy="216600"/>
            </a:xfrm>
            <a:custGeom>
              <a:avLst/>
              <a:ahLst/>
              <a:rect l="l" t="t" r="r" b="b"/>
              <a:pathLst>
                <a:path w="17600" h="8664" extrusionOk="0">
                  <a:moveTo>
                    <a:pt x="5563" y="1"/>
                  </a:moveTo>
                  <a:lnTo>
                    <a:pt x="0" y="8663"/>
                  </a:lnTo>
                  <a:lnTo>
                    <a:pt x="0" y="8663"/>
                  </a:lnTo>
                  <a:lnTo>
                    <a:pt x="17599" y="7417"/>
                  </a:lnTo>
                  <a:lnTo>
                    <a:pt x="12128" y="1946"/>
                  </a:lnTo>
                  <a:lnTo>
                    <a:pt x="9727" y="4864"/>
                  </a:lnTo>
                  <a:lnTo>
                    <a:pt x="5563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0" name="Google Shape;378;g191abe3b490_12_4485"/>
            <p:cNvSpPr/>
            <p:nvPr/>
          </p:nvSpPr>
          <p:spPr>
            <a:xfrm>
              <a:off x="1969150" y="3186400"/>
              <a:ext cx="82175" cy="69625"/>
            </a:xfrm>
            <a:custGeom>
              <a:avLst/>
              <a:ahLst/>
              <a:rect l="l" t="t" r="r" b="b"/>
              <a:pathLst>
                <a:path w="3287" h="2785" extrusionOk="0">
                  <a:moveTo>
                    <a:pt x="1847" y="0"/>
                  </a:moveTo>
                  <a:cubicBezTo>
                    <a:pt x="1809" y="0"/>
                    <a:pt x="1771" y="2"/>
                    <a:pt x="1733" y="5"/>
                  </a:cubicBezTo>
                  <a:cubicBezTo>
                    <a:pt x="517" y="96"/>
                    <a:pt x="0" y="1616"/>
                    <a:pt x="943" y="2436"/>
                  </a:cubicBezTo>
                  <a:cubicBezTo>
                    <a:pt x="1210" y="2677"/>
                    <a:pt x="1525" y="2785"/>
                    <a:pt x="1834" y="2785"/>
                  </a:cubicBezTo>
                  <a:cubicBezTo>
                    <a:pt x="2577" y="2785"/>
                    <a:pt x="3287" y="2162"/>
                    <a:pt x="3222" y="1281"/>
                  </a:cubicBezTo>
                  <a:cubicBezTo>
                    <a:pt x="3165" y="558"/>
                    <a:pt x="2584" y="0"/>
                    <a:pt x="184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1" name="Google Shape;379;g191abe3b490_12_4485"/>
            <p:cNvSpPr/>
            <p:nvPr/>
          </p:nvSpPr>
          <p:spPr>
            <a:xfrm>
              <a:off x="1776900" y="3253375"/>
              <a:ext cx="440000" cy="216600"/>
            </a:xfrm>
            <a:custGeom>
              <a:avLst/>
              <a:ahLst/>
              <a:rect l="l" t="t" r="r" b="b"/>
              <a:pathLst>
                <a:path w="17600" h="8664" extrusionOk="0">
                  <a:moveTo>
                    <a:pt x="5563" y="1"/>
                  </a:moveTo>
                  <a:lnTo>
                    <a:pt x="0" y="8663"/>
                  </a:lnTo>
                  <a:lnTo>
                    <a:pt x="0" y="8663"/>
                  </a:lnTo>
                  <a:lnTo>
                    <a:pt x="17599" y="7417"/>
                  </a:lnTo>
                  <a:lnTo>
                    <a:pt x="12128" y="1946"/>
                  </a:lnTo>
                  <a:lnTo>
                    <a:pt x="9727" y="4864"/>
                  </a:lnTo>
                  <a:lnTo>
                    <a:pt x="5563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2" name="Google Shape;380;g191abe3b490_12_4485"/>
            <p:cNvSpPr/>
            <p:nvPr/>
          </p:nvSpPr>
          <p:spPr>
            <a:xfrm>
              <a:off x="1969150" y="3186400"/>
              <a:ext cx="82175" cy="69625"/>
            </a:xfrm>
            <a:custGeom>
              <a:avLst/>
              <a:ahLst/>
              <a:rect l="l" t="t" r="r" b="b"/>
              <a:pathLst>
                <a:path w="3287" h="2785" extrusionOk="0">
                  <a:moveTo>
                    <a:pt x="1847" y="0"/>
                  </a:moveTo>
                  <a:cubicBezTo>
                    <a:pt x="1809" y="0"/>
                    <a:pt x="1771" y="2"/>
                    <a:pt x="1733" y="5"/>
                  </a:cubicBezTo>
                  <a:cubicBezTo>
                    <a:pt x="517" y="96"/>
                    <a:pt x="0" y="1616"/>
                    <a:pt x="943" y="2436"/>
                  </a:cubicBezTo>
                  <a:cubicBezTo>
                    <a:pt x="1210" y="2677"/>
                    <a:pt x="1525" y="2785"/>
                    <a:pt x="1834" y="2785"/>
                  </a:cubicBezTo>
                  <a:cubicBezTo>
                    <a:pt x="2577" y="2785"/>
                    <a:pt x="3287" y="2162"/>
                    <a:pt x="3222" y="1281"/>
                  </a:cubicBezTo>
                  <a:cubicBezTo>
                    <a:pt x="3165" y="558"/>
                    <a:pt x="2584" y="0"/>
                    <a:pt x="184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3" name="Google Shape;381;g191abe3b490_12_4485"/>
            <p:cNvSpPr/>
            <p:nvPr/>
          </p:nvSpPr>
          <p:spPr>
            <a:xfrm>
              <a:off x="991175" y="3562625"/>
              <a:ext cx="329050" cy="313875"/>
            </a:xfrm>
            <a:custGeom>
              <a:avLst/>
              <a:ahLst/>
              <a:rect l="l" t="t" r="r" b="b"/>
              <a:pathLst>
                <a:path w="13162" h="12555" extrusionOk="0">
                  <a:moveTo>
                    <a:pt x="7152" y="0"/>
                  </a:moveTo>
                  <a:cubicBezTo>
                    <a:pt x="5605" y="0"/>
                    <a:pt x="4041" y="630"/>
                    <a:pt x="2888" y="1977"/>
                  </a:cubicBezTo>
                  <a:cubicBezTo>
                    <a:pt x="0" y="5351"/>
                    <a:pt x="2006" y="10610"/>
                    <a:pt x="6414" y="11218"/>
                  </a:cubicBezTo>
                  <a:lnTo>
                    <a:pt x="6809" y="12555"/>
                  </a:lnTo>
                  <a:lnTo>
                    <a:pt x="11520" y="11096"/>
                  </a:lnTo>
                  <a:cubicBezTo>
                    <a:pt x="11520" y="11096"/>
                    <a:pt x="11338" y="10336"/>
                    <a:pt x="11125" y="9637"/>
                  </a:cubicBezTo>
                  <a:cubicBezTo>
                    <a:pt x="12614" y="8178"/>
                    <a:pt x="13161" y="5990"/>
                    <a:pt x="12554" y="3983"/>
                  </a:cubicBezTo>
                  <a:cubicBezTo>
                    <a:pt x="11768" y="1427"/>
                    <a:pt x="9480" y="0"/>
                    <a:pt x="7152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4" name="Google Shape;382;g191abe3b490_12_4485"/>
            <p:cNvSpPr/>
            <p:nvPr/>
          </p:nvSpPr>
          <p:spPr>
            <a:xfrm>
              <a:off x="1111225" y="3702175"/>
              <a:ext cx="150500" cy="160650"/>
            </a:xfrm>
            <a:custGeom>
              <a:avLst/>
              <a:ahLst/>
              <a:rect l="l" t="t" r="r" b="b"/>
              <a:pathLst>
                <a:path w="6020" h="6426" extrusionOk="0">
                  <a:moveTo>
                    <a:pt x="3679" y="73"/>
                  </a:moveTo>
                  <a:cubicBezTo>
                    <a:pt x="3770" y="73"/>
                    <a:pt x="3891" y="104"/>
                    <a:pt x="3952" y="164"/>
                  </a:cubicBezTo>
                  <a:cubicBezTo>
                    <a:pt x="4013" y="256"/>
                    <a:pt x="4074" y="347"/>
                    <a:pt x="4074" y="438"/>
                  </a:cubicBezTo>
                  <a:cubicBezTo>
                    <a:pt x="4074" y="651"/>
                    <a:pt x="4013" y="863"/>
                    <a:pt x="3891" y="1046"/>
                  </a:cubicBezTo>
                  <a:cubicBezTo>
                    <a:pt x="3840" y="1129"/>
                    <a:pt x="3781" y="1206"/>
                    <a:pt x="3716" y="1277"/>
                  </a:cubicBezTo>
                  <a:lnTo>
                    <a:pt x="3716" y="1277"/>
                  </a:lnTo>
                  <a:cubicBezTo>
                    <a:pt x="3669" y="1224"/>
                    <a:pt x="3626" y="1167"/>
                    <a:pt x="3587" y="1107"/>
                  </a:cubicBezTo>
                  <a:cubicBezTo>
                    <a:pt x="3466" y="955"/>
                    <a:pt x="3375" y="742"/>
                    <a:pt x="3375" y="529"/>
                  </a:cubicBezTo>
                  <a:cubicBezTo>
                    <a:pt x="3375" y="438"/>
                    <a:pt x="3375" y="347"/>
                    <a:pt x="3435" y="256"/>
                  </a:cubicBezTo>
                  <a:cubicBezTo>
                    <a:pt x="3496" y="164"/>
                    <a:pt x="3587" y="104"/>
                    <a:pt x="3679" y="73"/>
                  </a:cubicBezTo>
                  <a:close/>
                  <a:moveTo>
                    <a:pt x="1686" y="426"/>
                  </a:moveTo>
                  <a:cubicBezTo>
                    <a:pt x="1713" y="426"/>
                    <a:pt x="1739" y="430"/>
                    <a:pt x="1764" y="438"/>
                  </a:cubicBezTo>
                  <a:cubicBezTo>
                    <a:pt x="1976" y="499"/>
                    <a:pt x="2128" y="651"/>
                    <a:pt x="2189" y="833"/>
                  </a:cubicBezTo>
                  <a:cubicBezTo>
                    <a:pt x="2311" y="1137"/>
                    <a:pt x="2333" y="1455"/>
                    <a:pt x="2273" y="1751"/>
                  </a:cubicBezTo>
                  <a:lnTo>
                    <a:pt x="2273" y="1751"/>
                  </a:lnTo>
                  <a:cubicBezTo>
                    <a:pt x="2009" y="1690"/>
                    <a:pt x="1767" y="1554"/>
                    <a:pt x="1581" y="1350"/>
                  </a:cubicBezTo>
                  <a:cubicBezTo>
                    <a:pt x="1429" y="1198"/>
                    <a:pt x="1338" y="985"/>
                    <a:pt x="1338" y="772"/>
                  </a:cubicBezTo>
                  <a:cubicBezTo>
                    <a:pt x="1368" y="651"/>
                    <a:pt x="1399" y="560"/>
                    <a:pt x="1490" y="499"/>
                  </a:cubicBezTo>
                  <a:cubicBezTo>
                    <a:pt x="1535" y="454"/>
                    <a:pt x="1612" y="426"/>
                    <a:pt x="1686" y="426"/>
                  </a:cubicBezTo>
                  <a:close/>
                  <a:moveTo>
                    <a:pt x="5558" y="657"/>
                  </a:moveTo>
                  <a:cubicBezTo>
                    <a:pt x="5601" y="657"/>
                    <a:pt x="5644" y="665"/>
                    <a:pt x="5685" y="681"/>
                  </a:cubicBezTo>
                  <a:cubicBezTo>
                    <a:pt x="5867" y="711"/>
                    <a:pt x="5989" y="863"/>
                    <a:pt x="5958" y="1046"/>
                  </a:cubicBezTo>
                  <a:cubicBezTo>
                    <a:pt x="5897" y="1228"/>
                    <a:pt x="5806" y="1380"/>
                    <a:pt x="5654" y="1502"/>
                  </a:cubicBezTo>
                  <a:cubicBezTo>
                    <a:pt x="5422" y="1665"/>
                    <a:pt x="5136" y="1756"/>
                    <a:pt x="4837" y="1763"/>
                  </a:cubicBezTo>
                  <a:lnTo>
                    <a:pt x="4837" y="1763"/>
                  </a:lnTo>
                  <a:cubicBezTo>
                    <a:pt x="4879" y="1585"/>
                    <a:pt x="4932" y="1406"/>
                    <a:pt x="4986" y="1228"/>
                  </a:cubicBezTo>
                  <a:cubicBezTo>
                    <a:pt x="5016" y="1046"/>
                    <a:pt x="5107" y="924"/>
                    <a:pt x="5229" y="803"/>
                  </a:cubicBezTo>
                  <a:cubicBezTo>
                    <a:pt x="5318" y="714"/>
                    <a:pt x="5439" y="657"/>
                    <a:pt x="5558" y="657"/>
                  </a:cubicBezTo>
                  <a:close/>
                  <a:moveTo>
                    <a:pt x="459" y="2315"/>
                  </a:moveTo>
                  <a:cubicBezTo>
                    <a:pt x="488" y="2315"/>
                    <a:pt x="517" y="2317"/>
                    <a:pt x="548" y="2322"/>
                  </a:cubicBezTo>
                  <a:cubicBezTo>
                    <a:pt x="700" y="2353"/>
                    <a:pt x="852" y="2444"/>
                    <a:pt x="943" y="2566"/>
                  </a:cubicBezTo>
                  <a:cubicBezTo>
                    <a:pt x="1063" y="2686"/>
                    <a:pt x="1169" y="2807"/>
                    <a:pt x="1271" y="2927"/>
                  </a:cubicBezTo>
                  <a:lnTo>
                    <a:pt x="1271" y="2927"/>
                  </a:lnTo>
                  <a:cubicBezTo>
                    <a:pt x="1128" y="2979"/>
                    <a:pt x="977" y="3010"/>
                    <a:pt x="821" y="3022"/>
                  </a:cubicBezTo>
                  <a:cubicBezTo>
                    <a:pt x="776" y="3029"/>
                    <a:pt x="730" y="3033"/>
                    <a:pt x="685" y="3033"/>
                  </a:cubicBezTo>
                  <a:cubicBezTo>
                    <a:pt x="550" y="3033"/>
                    <a:pt x="419" y="2999"/>
                    <a:pt x="305" y="2930"/>
                  </a:cubicBezTo>
                  <a:cubicBezTo>
                    <a:pt x="153" y="2839"/>
                    <a:pt x="61" y="2687"/>
                    <a:pt x="122" y="2505"/>
                  </a:cubicBezTo>
                  <a:cubicBezTo>
                    <a:pt x="198" y="2378"/>
                    <a:pt x="316" y="2315"/>
                    <a:pt x="459" y="2315"/>
                  </a:cubicBezTo>
                  <a:close/>
                  <a:moveTo>
                    <a:pt x="3769" y="1"/>
                  </a:moveTo>
                  <a:cubicBezTo>
                    <a:pt x="3739" y="1"/>
                    <a:pt x="3709" y="5"/>
                    <a:pt x="3679" y="12"/>
                  </a:cubicBezTo>
                  <a:cubicBezTo>
                    <a:pt x="3435" y="73"/>
                    <a:pt x="3283" y="286"/>
                    <a:pt x="3283" y="529"/>
                  </a:cubicBezTo>
                  <a:cubicBezTo>
                    <a:pt x="3314" y="742"/>
                    <a:pt x="3375" y="955"/>
                    <a:pt x="3527" y="1137"/>
                  </a:cubicBezTo>
                  <a:cubicBezTo>
                    <a:pt x="3571" y="1204"/>
                    <a:pt x="3620" y="1266"/>
                    <a:pt x="3672" y="1323"/>
                  </a:cubicBezTo>
                  <a:lnTo>
                    <a:pt x="3672" y="1323"/>
                  </a:lnTo>
                  <a:cubicBezTo>
                    <a:pt x="3431" y="1567"/>
                    <a:pt x="3114" y="1730"/>
                    <a:pt x="2797" y="1775"/>
                  </a:cubicBezTo>
                  <a:cubicBezTo>
                    <a:pt x="2731" y="1784"/>
                    <a:pt x="2665" y="1788"/>
                    <a:pt x="2600" y="1788"/>
                  </a:cubicBezTo>
                  <a:cubicBezTo>
                    <a:pt x="2511" y="1788"/>
                    <a:pt x="2423" y="1780"/>
                    <a:pt x="2337" y="1765"/>
                  </a:cubicBezTo>
                  <a:lnTo>
                    <a:pt x="2337" y="1765"/>
                  </a:lnTo>
                  <a:cubicBezTo>
                    <a:pt x="2360" y="1658"/>
                    <a:pt x="2372" y="1550"/>
                    <a:pt x="2372" y="1441"/>
                  </a:cubicBezTo>
                  <a:cubicBezTo>
                    <a:pt x="2372" y="1228"/>
                    <a:pt x="2341" y="1015"/>
                    <a:pt x="2250" y="803"/>
                  </a:cubicBezTo>
                  <a:cubicBezTo>
                    <a:pt x="2220" y="711"/>
                    <a:pt x="2159" y="620"/>
                    <a:pt x="2068" y="529"/>
                  </a:cubicBezTo>
                  <a:cubicBezTo>
                    <a:pt x="2007" y="438"/>
                    <a:pt x="1885" y="377"/>
                    <a:pt x="1794" y="377"/>
                  </a:cubicBezTo>
                  <a:cubicBezTo>
                    <a:pt x="1761" y="369"/>
                    <a:pt x="1729" y="365"/>
                    <a:pt x="1696" y="365"/>
                  </a:cubicBezTo>
                  <a:cubicBezTo>
                    <a:pt x="1607" y="365"/>
                    <a:pt x="1518" y="393"/>
                    <a:pt x="1429" y="438"/>
                  </a:cubicBezTo>
                  <a:cubicBezTo>
                    <a:pt x="1338" y="529"/>
                    <a:pt x="1277" y="620"/>
                    <a:pt x="1277" y="742"/>
                  </a:cubicBezTo>
                  <a:cubicBezTo>
                    <a:pt x="1277" y="985"/>
                    <a:pt x="1338" y="1228"/>
                    <a:pt x="1520" y="1380"/>
                  </a:cubicBezTo>
                  <a:cubicBezTo>
                    <a:pt x="1727" y="1606"/>
                    <a:pt x="1981" y="1750"/>
                    <a:pt x="2259" y="1813"/>
                  </a:cubicBezTo>
                  <a:lnTo>
                    <a:pt x="2259" y="1813"/>
                  </a:lnTo>
                  <a:cubicBezTo>
                    <a:pt x="2192" y="2086"/>
                    <a:pt x="2053" y="2337"/>
                    <a:pt x="1855" y="2535"/>
                  </a:cubicBezTo>
                  <a:cubicBezTo>
                    <a:pt x="1703" y="2704"/>
                    <a:pt x="1523" y="2826"/>
                    <a:pt x="1325" y="2906"/>
                  </a:cubicBezTo>
                  <a:lnTo>
                    <a:pt x="1325" y="2906"/>
                  </a:lnTo>
                  <a:cubicBezTo>
                    <a:pt x="1220" y="2783"/>
                    <a:pt x="1112" y="2659"/>
                    <a:pt x="1004" y="2535"/>
                  </a:cubicBezTo>
                  <a:cubicBezTo>
                    <a:pt x="882" y="2383"/>
                    <a:pt x="730" y="2292"/>
                    <a:pt x="548" y="2262"/>
                  </a:cubicBezTo>
                  <a:cubicBezTo>
                    <a:pt x="521" y="2253"/>
                    <a:pt x="494" y="2249"/>
                    <a:pt x="468" y="2249"/>
                  </a:cubicBezTo>
                  <a:cubicBezTo>
                    <a:pt x="403" y="2249"/>
                    <a:pt x="339" y="2271"/>
                    <a:pt x="274" y="2292"/>
                  </a:cubicBezTo>
                  <a:cubicBezTo>
                    <a:pt x="183" y="2322"/>
                    <a:pt x="122" y="2383"/>
                    <a:pt x="61" y="2474"/>
                  </a:cubicBezTo>
                  <a:cubicBezTo>
                    <a:pt x="1" y="2657"/>
                    <a:pt x="92" y="2870"/>
                    <a:pt x="274" y="2991"/>
                  </a:cubicBezTo>
                  <a:cubicBezTo>
                    <a:pt x="388" y="3060"/>
                    <a:pt x="536" y="3094"/>
                    <a:pt x="680" y="3094"/>
                  </a:cubicBezTo>
                  <a:cubicBezTo>
                    <a:pt x="728" y="3094"/>
                    <a:pt x="776" y="3090"/>
                    <a:pt x="821" y="3082"/>
                  </a:cubicBezTo>
                  <a:cubicBezTo>
                    <a:pt x="986" y="3070"/>
                    <a:pt x="1151" y="3031"/>
                    <a:pt x="1306" y="2970"/>
                  </a:cubicBezTo>
                  <a:lnTo>
                    <a:pt x="1306" y="2970"/>
                  </a:lnTo>
                  <a:cubicBezTo>
                    <a:pt x="1397" y="3078"/>
                    <a:pt x="1486" y="3187"/>
                    <a:pt x="1581" y="3295"/>
                  </a:cubicBezTo>
                  <a:cubicBezTo>
                    <a:pt x="2341" y="4237"/>
                    <a:pt x="2919" y="5028"/>
                    <a:pt x="3344" y="5575"/>
                  </a:cubicBezTo>
                  <a:cubicBezTo>
                    <a:pt x="3527" y="5848"/>
                    <a:pt x="3679" y="6061"/>
                    <a:pt x="3800" y="6213"/>
                  </a:cubicBezTo>
                  <a:cubicBezTo>
                    <a:pt x="3709" y="6061"/>
                    <a:pt x="3557" y="5848"/>
                    <a:pt x="3344" y="5544"/>
                  </a:cubicBezTo>
                  <a:cubicBezTo>
                    <a:pt x="2949" y="4997"/>
                    <a:pt x="2372" y="4207"/>
                    <a:pt x="1612" y="3265"/>
                  </a:cubicBezTo>
                  <a:cubicBezTo>
                    <a:pt x="1532" y="3159"/>
                    <a:pt x="1448" y="3054"/>
                    <a:pt x="1359" y="2948"/>
                  </a:cubicBezTo>
                  <a:lnTo>
                    <a:pt x="1359" y="2948"/>
                  </a:lnTo>
                  <a:cubicBezTo>
                    <a:pt x="1557" y="2863"/>
                    <a:pt x="1739" y="2743"/>
                    <a:pt x="1885" y="2596"/>
                  </a:cubicBezTo>
                  <a:cubicBezTo>
                    <a:pt x="2097" y="2384"/>
                    <a:pt x="2249" y="2114"/>
                    <a:pt x="2323" y="1826"/>
                  </a:cubicBezTo>
                  <a:lnTo>
                    <a:pt x="2323" y="1826"/>
                  </a:lnTo>
                  <a:cubicBezTo>
                    <a:pt x="2410" y="1841"/>
                    <a:pt x="2500" y="1849"/>
                    <a:pt x="2591" y="1849"/>
                  </a:cubicBezTo>
                  <a:cubicBezTo>
                    <a:pt x="2659" y="1849"/>
                    <a:pt x="2728" y="1845"/>
                    <a:pt x="2797" y="1836"/>
                  </a:cubicBezTo>
                  <a:cubicBezTo>
                    <a:pt x="3155" y="1769"/>
                    <a:pt x="3463" y="1603"/>
                    <a:pt x="3710" y="1363"/>
                  </a:cubicBezTo>
                  <a:lnTo>
                    <a:pt x="3710" y="1363"/>
                  </a:lnTo>
                  <a:cubicBezTo>
                    <a:pt x="3994" y="1652"/>
                    <a:pt x="4372" y="1805"/>
                    <a:pt x="4757" y="1813"/>
                  </a:cubicBezTo>
                  <a:lnTo>
                    <a:pt x="4757" y="1813"/>
                  </a:lnTo>
                  <a:cubicBezTo>
                    <a:pt x="4737" y="1914"/>
                    <a:pt x="4722" y="2013"/>
                    <a:pt x="4712" y="2110"/>
                  </a:cubicBezTo>
                  <a:cubicBezTo>
                    <a:pt x="4651" y="2657"/>
                    <a:pt x="4651" y="3204"/>
                    <a:pt x="4712" y="3751"/>
                  </a:cubicBezTo>
                  <a:cubicBezTo>
                    <a:pt x="4742" y="4237"/>
                    <a:pt x="4803" y="4663"/>
                    <a:pt x="4864" y="4997"/>
                  </a:cubicBezTo>
                  <a:cubicBezTo>
                    <a:pt x="4894" y="5332"/>
                    <a:pt x="4955" y="5575"/>
                    <a:pt x="4986" y="5757"/>
                  </a:cubicBezTo>
                  <a:cubicBezTo>
                    <a:pt x="5016" y="5848"/>
                    <a:pt x="5016" y="5909"/>
                    <a:pt x="5016" y="5970"/>
                  </a:cubicBezTo>
                  <a:lnTo>
                    <a:pt x="5016" y="6031"/>
                  </a:lnTo>
                  <a:lnTo>
                    <a:pt x="5046" y="5970"/>
                  </a:lnTo>
                  <a:lnTo>
                    <a:pt x="5016" y="5788"/>
                  </a:lnTo>
                  <a:cubicBezTo>
                    <a:pt x="4986" y="5605"/>
                    <a:pt x="4925" y="5362"/>
                    <a:pt x="4894" y="5028"/>
                  </a:cubicBezTo>
                  <a:cubicBezTo>
                    <a:pt x="4834" y="4663"/>
                    <a:pt x="4773" y="4268"/>
                    <a:pt x="4742" y="3781"/>
                  </a:cubicBezTo>
                  <a:cubicBezTo>
                    <a:pt x="4712" y="3234"/>
                    <a:pt x="4712" y="2687"/>
                    <a:pt x="4773" y="2140"/>
                  </a:cubicBezTo>
                  <a:cubicBezTo>
                    <a:pt x="4784" y="2031"/>
                    <a:pt x="4802" y="1922"/>
                    <a:pt x="4826" y="1813"/>
                  </a:cubicBezTo>
                  <a:lnTo>
                    <a:pt x="4826" y="1813"/>
                  </a:lnTo>
                  <a:cubicBezTo>
                    <a:pt x="5124" y="1806"/>
                    <a:pt x="5423" y="1714"/>
                    <a:pt x="5685" y="1532"/>
                  </a:cubicBezTo>
                  <a:cubicBezTo>
                    <a:pt x="5837" y="1411"/>
                    <a:pt x="5958" y="1228"/>
                    <a:pt x="5989" y="1046"/>
                  </a:cubicBezTo>
                  <a:cubicBezTo>
                    <a:pt x="6019" y="924"/>
                    <a:pt x="5989" y="833"/>
                    <a:pt x="5928" y="742"/>
                  </a:cubicBezTo>
                  <a:cubicBezTo>
                    <a:pt x="5867" y="681"/>
                    <a:pt x="5776" y="620"/>
                    <a:pt x="5685" y="590"/>
                  </a:cubicBezTo>
                  <a:cubicBezTo>
                    <a:pt x="5644" y="583"/>
                    <a:pt x="5603" y="579"/>
                    <a:pt x="5562" y="579"/>
                  </a:cubicBezTo>
                  <a:cubicBezTo>
                    <a:pt x="5422" y="579"/>
                    <a:pt x="5286" y="624"/>
                    <a:pt x="5168" y="742"/>
                  </a:cubicBezTo>
                  <a:cubicBezTo>
                    <a:pt x="5046" y="863"/>
                    <a:pt x="4955" y="1015"/>
                    <a:pt x="4925" y="1167"/>
                  </a:cubicBezTo>
                  <a:cubicBezTo>
                    <a:pt x="4867" y="1359"/>
                    <a:pt x="4810" y="1563"/>
                    <a:pt x="4768" y="1763"/>
                  </a:cubicBezTo>
                  <a:lnTo>
                    <a:pt x="4768" y="1763"/>
                  </a:lnTo>
                  <a:cubicBezTo>
                    <a:pt x="4699" y="1762"/>
                    <a:pt x="4629" y="1756"/>
                    <a:pt x="4560" y="1745"/>
                  </a:cubicBezTo>
                  <a:cubicBezTo>
                    <a:pt x="4254" y="1698"/>
                    <a:pt x="3967" y="1542"/>
                    <a:pt x="3754" y="1319"/>
                  </a:cubicBezTo>
                  <a:lnTo>
                    <a:pt x="3754" y="1319"/>
                  </a:lnTo>
                  <a:cubicBezTo>
                    <a:pt x="3826" y="1244"/>
                    <a:pt x="3892" y="1163"/>
                    <a:pt x="3952" y="1076"/>
                  </a:cubicBezTo>
                  <a:cubicBezTo>
                    <a:pt x="4074" y="894"/>
                    <a:pt x="4134" y="651"/>
                    <a:pt x="4134" y="438"/>
                  </a:cubicBezTo>
                  <a:cubicBezTo>
                    <a:pt x="4134" y="316"/>
                    <a:pt x="4074" y="195"/>
                    <a:pt x="4013" y="104"/>
                  </a:cubicBezTo>
                  <a:cubicBezTo>
                    <a:pt x="3945" y="35"/>
                    <a:pt x="3859" y="1"/>
                    <a:pt x="3769" y="1"/>
                  </a:cubicBezTo>
                  <a:close/>
                  <a:moveTo>
                    <a:pt x="3922" y="6365"/>
                  </a:moveTo>
                  <a:cubicBezTo>
                    <a:pt x="3922" y="6380"/>
                    <a:pt x="3929" y="6388"/>
                    <a:pt x="3937" y="6395"/>
                  </a:cubicBezTo>
                  <a:lnTo>
                    <a:pt x="3922" y="6365"/>
                  </a:lnTo>
                  <a:close/>
                  <a:moveTo>
                    <a:pt x="3937" y="6395"/>
                  </a:moveTo>
                  <a:lnTo>
                    <a:pt x="3952" y="6426"/>
                  </a:lnTo>
                  <a:cubicBezTo>
                    <a:pt x="3952" y="6411"/>
                    <a:pt x="3945" y="6403"/>
                    <a:pt x="3937" y="63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5" name="Google Shape;383;g191abe3b490_12_4485"/>
            <p:cNvSpPr/>
            <p:nvPr/>
          </p:nvSpPr>
          <p:spPr>
            <a:xfrm>
              <a:off x="1165175" y="3849750"/>
              <a:ext cx="118575" cy="46675"/>
            </a:xfrm>
            <a:custGeom>
              <a:avLst/>
              <a:ahLst/>
              <a:rect l="l" t="t" r="r" b="b"/>
              <a:pathLst>
                <a:path w="4743" h="1867" extrusionOk="0">
                  <a:moveTo>
                    <a:pt x="4377" y="0"/>
                  </a:moveTo>
                  <a:cubicBezTo>
                    <a:pt x="4357" y="0"/>
                    <a:pt x="4337" y="2"/>
                    <a:pt x="4317" y="6"/>
                  </a:cubicBezTo>
                  <a:lnTo>
                    <a:pt x="274" y="1283"/>
                  </a:lnTo>
                  <a:cubicBezTo>
                    <a:pt x="92" y="1313"/>
                    <a:pt x="1" y="1496"/>
                    <a:pt x="62" y="1647"/>
                  </a:cubicBezTo>
                  <a:cubicBezTo>
                    <a:pt x="114" y="1780"/>
                    <a:pt x="237" y="1866"/>
                    <a:pt x="368" y="1866"/>
                  </a:cubicBezTo>
                  <a:cubicBezTo>
                    <a:pt x="387" y="1866"/>
                    <a:pt x="407" y="1864"/>
                    <a:pt x="426" y="1860"/>
                  </a:cubicBezTo>
                  <a:lnTo>
                    <a:pt x="4469" y="614"/>
                  </a:lnTo>
                  <a:cubicBezTo>
                    <a:pt x="4651" y="553"/>
                    <a:pt x="4742" y="371"/>
                    <a:pt x="4682" y="219"/>
                  </a:cubicBezTo>
                  <a:cubicBezTo>
                    <a:pt x="4655" y="87"/>
                    <a:pt x="4514" y="0"/>
                    <a:pt x="43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6" name="Google Shape;384;g191abe3b490_12_4485"/>
            <p:cNvSpPr/>
            <p:nvPr/>
          </p:nvSpPr>
          <p:spPr>
            <a:xfrm>
              <a:off x="1168625" y="3870775"/>
              <a:ext cx="124125" cy="69850"/>
            </a:xfrm>
            <a:custGeom>
              <a:avLst/>
              <a:ahLst/>
              <a:rect l="l" t="t" r="r" b="b"/>
              <a:pathLst>
                <a:path w="4965" h="2794" extrusionOk="0">
                  <a:moveTo>
                    <a:pt x="4523" y="0"/>
                  </a:moveTo>
                  <a:cubicBezTo>
                    <a:pt x="4492" y="0"/>
                    <a:pt x="4458" y="5"/>
                    <a:pt x="4422" y="16"/>
                  </a:cubicBezTo>
                  <a:lnTo>
                    <a:pt x="410" y="1293"/>
                  </a:lnTo>
                  <a:cubicBezTo>
                    <a:pt x="0" y="1375"/>
                    <a:pt x="130" y="1923"/>
                    <a:pt x="470" y="1923"/>
                  </a:cubicBezTo>
                  <a:cubicBezTo>
                    <a:pt x="508" y="1923"/>
                    <a:pt x="549" y="1916"/>
                    <a:pt x="592" y="1901"/>
                  </a:cubicBezTo>
                  <a:lnTo>
                    <a:pt x="1018" y="1749"/>
                  </a:lnTo>
                  <a:lnTo>
                    <a:pt x="1960" y="2691"/>
                  </a:lnTo>
                  <a:cubicBezTo>
                    <a:pt x="2028" y="2759"/>
                    <a:pt x="2131" y="2794"/>
                    <a:pt x="2242" y="2794"/>
                  </a:cubicBezTo>
                  <a:cubicBezTo>
                    <a:pt x="2279" y="2794"/>
                    <a:pt x="2317" y="2790"/>
                    <a:pt x="2355" y="2782"/>
                  </a:cubicBezTo>
                  <a:lnTo>
                    <a:pt x="3814" y="2326"/>
                  </a:lnTo>
                  <a:cubicBezTo>
                    <a:pt x="3966" y="2265"/>
                    <a:pt x="4057" y="2144"/>
                    <a:pt x="4088" y="2022"/>
                  </a:cubicBezTo>
                  <a:lnTo>
                    <a:pt x="4301" y="715"/>
                  </a:lnTo>
                  <a:lnTo>
                    <a:pt x="4604" y="624"/>
                  </a:lnTo>
                  <a:cubicBezTo>
                    <a:pt x="4964" y="513"/>
                    <a:pt x="4845" y="0"/>
                    <a:pt x="452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7" name="Google Shape;385;g191abe3b490_12_4485"/>
            <p:cNvSpPr/>
            <p:nvPr/>
          </p:nvSpPr>
          <p:spPr>
            <a:xfrm>
              <a:off x="1042075" y="3604150"/>
              <a:ext cx="65375" cy="174475"/>
            </a:xfrm>
            <a:custGeom>
              <a:avLst/>
              <a:ahLst/>
              <a:rect l="l" t="t" r="r" b="b"/>
              <a:pathLst>
                <a:path w="2615" h="6979" extrusionOk="0">
                  <a:moveTo>
                    <a:pt x="2541" y="0"/>
                  </a:moveTo>
                  <a:cubicBezTo>
                    <a:pt x="2484" y="0"/>
                    <a:pt x="2383" y="29"/>
                    <a:pt x="2250" y="73"/>
                  </a:cubicBezTo>
                  <a:cubicBezTo>
                    <a:pt x="1946" y="195"/>
                    <a:pt x="1703" y="377"/>
                    <a:pt x="1490" y="590"/>
                  </a:cubicBezTo>
                  <a:cubicBezTo>
                    <a:pt x="1125" y="894"/>
                    <a:pt x="852" y="1228"/>
                    <a:pt x="639" y="1623"/>
                  </a:cubicBezTo>
                  <a:lnTo>
                    <a:pt x="92" y="3204"/>
                  </a:lnTo>
                  <a:cubicBezTo>
                    <a:pt x="1" y="3781"/>
                    <a:pt x="31" y="4329"/>
                    <a:pt x="183" y="4876"/>
                  </a:cubicBezTo>
                  <a:cubicBezTo>
                    <a:pt x="305" y="5332"/>
                    <a:pt x="487" y="5757"/>
                    <a:pt x="730" y="6122"/>
                  </a:cubicBezTo>
                  <a:cubicBezTo>
                    <a:pt x="882" y="6365"/>
                    <a:pt x="1095" y="6608"/>
                    <a:pt x="1308" y="6791"/>
                  </a:cubicBezTo>
                  <a:cubicBezTo>
                    <a:pt x="1440" y="6901"/>
                    <a:pt x="1508" y="6979"/>
                    <a:pt x="1570" y="6979"/>
                  </a:cubicBezTo>
                  <a:cubicBezTo>
                    <a:pt x="1594" y="6979"/>
                    <a:pt x="1617" y="6968"/>
                    <a:pt x="1642" y="6943"/>
                  </a:cubicBezTo>
                  <a:cubicBezTo>
                    <a:pt x="1703" y="6882"/>
                    <a:pt x="1429" y="6517"/>
                    <a:pt x="1156" y="5879"/>
                  </a:cubicBezTo>
                  <a:cubicBezTo>
                    <a:pt x="365" y="4237"/>
                    <a:pt x="639" y="2292"/>
                    <a:pt x="1824" y="924"/>
                  </a:cubicBezTo>
                  <a:cubicBezTo>
                    <a:pt x="2280" y="377"/>
                    <a:pt x="2615" y="73"/>
                    <a:pt x="2584" y="12"/>
                  </a:cubicBezTo>
                  <a:cubicBezTo>
                    <a:pt x="2576" y="4"/>
                    <a:pt x="2561" y="0"/>
                    <a:pt x="25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8" name="Google Shape;386;g191abe3b490_12_4485"/>
            <p:cNvSpPr/>
            <p:nvPr/>
          </p:nvSpPr>
          <p:spPr>
            <a:xfrm>
              <a:off x="1120350" y="3582675"/>
              <a:ext cx="34975" cy="19550"/>
            </a:xfrm>
            <a:custGeom>
              <a:avLst/>
              <a:ahLst/>
              <a:rect l="l" t="t" r="r" b="b"/>
              <a:pathLst>
                <a:path w="1399" h="782" extrusionOk="0">
                  <a:moveTo>
                    <a:pt x="929" y="0"/>
                  </a:moveTo>
                  <a:cubicBezTo>
                    <a:pt x="822" y="0"/>
                    <a:pt x="715" y="15"/>
                    <a:pt x="608" y="51"/>
                  </a:cubicBezTo>
                  <a:cubicBezTo>
                    <a:pt x="426" y="111"/>
                    <a:pt x="274" y="203"/>
                    <a:pt x="122" y="324"/>
                  </a:cubicBezTo>
                  <a:cubicBezTo>
                    <a:pt x="61" y="446"/>
                    <a:pt x="0" y="567"/>
                    <a:pt x="61" y="659"/>
                  </a:cubicBezTo>
                  <a:cubicBezTo>
                    <a:pt x="95" y="744"/>
                    <a:pt x="217" y="782"/>
                    <a:pt x="381" y="782"/>
                  </a:cubicBezTo>
                  <a:cubicBezTo>
                    <a:pt x="508" y="782"/>
                    <a:pt x="662" y="759"/>
                    <a:pt x="821" y="719"/>
                  </a:cubicBezTo>
                  <a:lnTo>
                    <a:pt x="1399" y="233"/>
                  </a:lnTo>
                  <a:cubicBezTo>
                    <a:pt x="1399" y="142"/>
                    <a:pt x="1307" y="51"/>
                    <a:pt x="1155" y="20"/>
                  </a:cubicBezTo>
                  <a:cubicBezTo>
                    <a:pt x="1080" y="8"/>
                    <a:pt x="1004" y="0"/>
                    <a:pt x="9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09" name="Google Shape;387;g191abe3b490_12_4485"/>
            <p:cNvSpPr/>
            <p:nvPr/>
          </p:nvSpPr>
          <p:spPr>
            <a:xfrm>
              <a:off x="1222175" y="3922650"/>
              <a:ext cx="47900" cy="17700"/>
            </a:xfrm>
            <a:custGeom>
              <a:avLst/>
              <a:ahLst/>
              <a:rect l="l" t="t" r="r" b="b"/>
              <a:pathLst>
                <a:path w="1916" h="708" extrusionOk="0">
                  <a:moveTo>
                    <a:pt x="1447" y="0"/>
                  </a:moveTo>
                  <a:cubicBezTo>
                    <a:pt x="1249" y="0"/>
                    <a:pt x="1050" y="50"/>
                    <a:pt x="852" y="99"/>
                  </a:cubicBezTo>
                  <a:cubicBezTo>
                    <a:pt x="608" y="190"/>
                    <a:pt x="396" y="312"/>
                    <a:pt x="213" y="494"/>
                  </a:cubicBezTo>
                  <a:cubicBezTo>
                    <a:pt x="122" y="555"/>
                    <a:pt x="61" y="616"/>
                    <a:pt x="0" y="707"/>
                  </a:cubicBezTo>
                  <a:cubicBezTo>
                    <a:pt x="0" y="707"/>
                    <a:pt x="92" y="646"/>
                    <a:pt x="244" y="525"/>
                  </a:cubicBezTo>
                  <a:cubicBezTo>
                    <a:pt x="426" y="373"/>
                    <a:pt x="639" y="282"/>
                    <a:pt x="882" y="190"/>
                  </a:cubicBezTo>
                  <a:cubicBezTo>
                    <a:pt x="1125" y="99"/>
                    <a:pt x="1338" y="69"/>
                    <a:pt x="1581" y="69"/>
                  </a:cubicBezTo>
                  <a:lnTo>
                    <a:pt x="1915" y="69"/>
                  </a:lnTo>
                  <a:cubicBezTo>
                    <a:pt x="1794" y="38"/>
                    <a:pt x="1703" y="8"/>
                    <a:pt x="1581" y="8"/>
                  </a:cubicBezTo>
                  <a:cubicBezTo>
                    <a:pt x="1536" y="3"/>
                    <a:pt x="1492" y="0"/>
                    <a:pt x="144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0" name="Google Shape;388;g191abe3b490_12_4485"/>
            <p:cNvSpPr/>
            <p:nvPr/>
          </p:nvSpPr>
          <p:spPr>
            <a:xfrm>
              <a:off x="1194825" y="3889325"/>
              <a:ext cx="82075" cy="25250"/>
            </a:xfrm>
            <a:custGeom>
              <a:avLst/>
              <a:ahLst/>
              <a:rect l="l" t="t" r="r" b="b"/>
              <a:pathLst>
                <a:path w="3283" h="1010" extrusionOk="0">
                  <a:moveTo>
                    <a:pt x="3274" y="1"/>
                  </a:moveTo>
                  <a:cubicBezTo>
                    <a:pt x="3189" y="1"/>
                    <a:pt x="2495" y="204"/>
                    <a:pt x="1642" y="460"/>
                  </a:cubicBezTo>
                  <a:cubicBezTo>
                    <a:pt x="730" y="764"/>
                    <a:pt x="0" y="976"/>
                    <a:pt x="0" y="1007"/>
                  </a:cubicBezTo>
                  <a:cubicBezTo>
                    <a:pt x="2" y="1009"/>
                    <a:pt x="7" y="1010"/>
                    <a:pt x="14" y="1010"/>
                  </a:cubicBezTo>
                  <a:cubicBezTo>
                    <a:pt x="124" y="1010"/>
                    <a:pt x="816" y="805"/>
                    <a:pt x="1642" y="520"/>
                  </a:cubicBezTo>
                  <a:cubicBezTo>
                    <a:pt x="2553" y="247"/>
                    <a:pt x="3283" y="4"/>
                    <a:pt x="3283" y="4"/>
                  </a:cubicBezTo>
                  <a:cubicBezTo>
                    <a:pt x="3283" y="2"/>
                    <a:pt x="3280" y="1"/>
                    <a:pt x="327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1" name="Google Shape;389;g191abe3b490_12_4485"/>
            <p:cNvSpPr/>
            <p:nvPr/>
          </p:nvSpPr>
          <p:spPr>
            <a:xfrm>
              <a:off x="1206225" y="3903075"/>
              <a:ext cx="67650" cy="22075"/>
            </a:xfrm>
            <a:custGeom>
              <a:avLst/>
              <a:ahLst/>
              <a:rect l="l" t="t" r="r" b="b"/>
              <a:pathLst>
                <a:path w="2706" h="883" extrusionOk="0">
                  <a:moveTo>
                    <a:pt x="2705" y="1"/>
                  </a:moveTo>
                  <a:lnTo>
                    <a:pt x="2705" y="1"/>
                  </a:lnTo>
                  <a:cubicBezTo>
                    <a:pt x="2584" y="31"/>
                    <a:pt x="2432" y="62"/>
                    <a:pt x="2310" y="122"/>
                  </a:cubicBezTo>
                  <a:lnTo>
                    <a:pt x="1338" y="426"/>
                  </a:lnTo>
                  <a:lnTo>
                    <a:pt x="395" y="761"/>
                  </a:lnTo>
                  <a:cubicBezTo>
                    <a:pt x="243" y="791"/>
                    <a:pt x="122" y="821"/>
                    <a:pt x="0" y="882"/>
                  </a:cubicBezTo>
                  <a:cubicBezTo>
                    <a:pt x="152" y="882"/>
                    <a:pt x="274" y="821"/>
                    <a:pt x="426" y="791"/>
                  </a:cubicBezTo>
                  <a:cubicBezTo>
                    <a:pt x="669" y="730"/>
                    <a:pt x="1003" y="609"/>
                    <a:pt x="1368" y="487"/>
                  </a:cubicBezTo>
                  <a:cubicBezTo>
                    <a:pt x="1763" y="366"/>
                    <a:pt x="2097" y="244"/>
                    <a:pt x="2341" y="153"/>
                  </a:cubicBezTo>
                  <a:cubicBezTo>
                    <a:pt x="2462" y="122"/>
                    <a:pt x="2584" y="62"/>
                    <a:pt x="270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2" name="Google Shape;390;g191abe3b490_12_4485"/>
            <p:cNvSpPr/>
            <p:nvPr/>
          </p:nvSpPr>
          <p:spPr>
            <a:xfrm>
              <a:off x="3222200" y="2966275"/>
              <a:ext cx="1224225" cy="922125"/>
            </a:xfrm>
            <a:custGeom>
              <a:avLst/>
              <a:ahLst/>
              <a:rect l="l" t="t" r="r" b="b"/>
              <a:pathLst>
                <a:path w="48969" h="36885" extrusionOk="0">
                  <a:moveTo>
                    <a:pt x="36092" y="0"/>
                  </a:moveTo>
                  <a:cubicBezTo>
                    <a:pt x="33013" y="0"/>
                    <a:pt x="29926" y="1212"/>
                    <a:pt x="27935" y="3582"/>
                  </a:cubicBezTo>
                  <a:cubicBezTo>
                    <a:pt x="26506" y="5284"/>
                    <a:pt x="25503" y="7533"/>
                    <a:pt x="23527" y="8597"/>
                  </a:cubicBezTo>
                  <a:cubicBezTo>
                    <a:pt x="22651" y="9053"/>
                    <a:pt x="21719" y="9210"/>
                    <a:pt x="20754" y="9210"/>
                  </a:cubicBezTo>
                  <a:cubicBezTo>
                    <a:pt x="18591" y="9210"/>
                    <a:pt x="16263" y="8419"/>
                    <a:pt x="14023" y="8419"/>
                  </a:cubicBezTo>
                  <a:cubicBezTo>
                    <a:pt x="13796" y="8419"/>
                    <a:pt x="13570" y="8427"/>
                    <a:pt x="13345" y="8445"/>
                  </a:cubicBezTo>
                  <a:cubicBezTo>
                    <a:pt x="9302" y="8810"/>
                    <a:pt x="6019" y="12883"/>
                    <a:pt x="6506" y="16895"/>
                  </a:cubicBezTo>
                  <a:cubicBezTo>
                    <a:pt x="6718" y="18719"/>
                    <a:pt x="7600" y="20634"/>
                    <a:pt x="6749" y="22245"/>
                  </a:cubicBezTo>
                  <a:cubicBezTo>
                    <a:pt x="5655" y="24312"/>
                    <a:pt x="2524" y="24372"/>
                    <a:pt x="1186" y="26287"/>
                  </a:cubicBezTo>
                  <a:cubicBezTo>
                    <a:pt x="1" y="28020"/>
                    <a:pt x="943" y="30573"/>
                    <a:pt x="2676" y="31758"/>
                  </a:cubicBezTo>
                  <a:cubicBezTo>
                    <a:pt x="4147" y="32765"/>
                    <a:pt x="5970" y="33027"/>
                    <a:pt x="7771" y="33027"/>
                  </a:cubicBezTo>
                  <a:cubicBezTo>
                    <a:pt x="8090" y="33027"/>
                    <a:pt x="8409" y="33018"/>
                    <a:pt x="8724" y="33005"/>
                  </a:cubicBezTo>
                  <a:cubicBezTo>
                    <a:pt x="9929" y="32952"/>
                    <a:pt x="11143" y="32840"/>
                    <a:pt x="12344" y="32840"/>
                  </a:cubicBezTo>
                  <a:cubicBezTo>
                    <a:pt x="13235" y="32840"/>
                    <a:pt x="14119" y="32902"/>
                    <a:pt x="14986" y="33096"/>
                  </a:cubicBezTo>
                  <a:cubicBezTo>
                    <a:pt x="17235" y="33582"/>
                    <a:pt x="19181" y="34980"/>
                    <a:pt x="21339" y="35831"/>
                  </a:cubicBezTo>
                  <a:cubicBezTo>
                    <a:pt x="23138" y="36555"/>
                    <a:pt x="25049" y="36884"/>
                    <a:pt x="26978" y="36884"/>
                  </a:cubicBezTo>
                  <a:cubicBezTo>
                    <a:pt x="30556" y="36884"/>
                    <a:pt x="34196" y="35753"/>
                    <a:pt x="37296" y="33917"/>
                  </a:cubicBezTo>
                  <a:cubicBezTo>
                    <a:pt x="42038" y="31090"/>
                    <a:pt x="45746" y="26743"/>
                    <a:pt x="48968" y="22214"/>
                  </a:cubicBezTo>
                  <a:lnTo>
                    <a:pt x="43224" y="2639"/>
                  </a:lnTo>
                  <a:cubicBezTo>
                    <a:pt x="41300" y="869"/>
                    <a:pt x="38699" y="0"/>
                    <a:pt x="36092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3" name="Google Shape;391;g191abe3b490_12_4485"/>
            <p:cNvSpPr/>
            <p:nvPr/>
          </p:nvSpPr>
          <p:spPr>
            <a:xfrm>
              <a:off x="3222200" y="2966275"/>
              <a:ext cx="1224225" cy="922125"/>
            </a:xfrm>
            <a:custGeom>
              <a:avLst/>
              <a:ahLst/>
              <a:rect l="l" t="t" r="r" b="b"/>
              <a:pathLst>
                <a:path w="48969" h="36885" extrusionOk="0">
                  <a:moveTo>
                    <a:pt x="36092" y="0"/>
                  </a:moveTo>
                  <a:cubicBezTo>
                    <a:pt x="33013" y="0"/>
                    <a:pt x="29926" y="1212"/>
                    <a:pt x="27935" y="3582"/>
                  </a:cubicBezTo>
                  <a:cubicBezTo>
                    <a:pt x="26506" y="5284"/>
                    <a:pt x="25503" y="7533"/>
                    <a:pt x="23527" y="8597"/>
                  </a:cubicBezTo>
                  <a:cubicBezTo>
                    <a:pt x="22651" y="9053"/>
                    <a:pt x="21719" y="9210"/>
                    <a:pt x="20754" y="9210"/>
                  </a:cubicBezTo>
                  <a:cubicBezTo>
                    <a:pt x="18591" y="9210"/>
                    <a:pt x="16263" y="8419"/>
                    <a:pt x="14023" y="8419"/>
                  </a:cubicBezTo>
                  <a:cubicBezTo>
                    <a:pt x="13796" y="8419"/>
                    <a:pt x="13570" y="8427"/>
                    <a:pt x="13345" y="8445"/>
                  </a:cubicBezTo>
                  <a:cubicBezTo>
                    <a:pt x="9302" y="8810"/>
                    <a:pt x="6019" y="12883"/>
                    <a:pt x="6506" y="16895"/>
                  </a:cubicBezTo>
                  <a:cubicBezTo>
                    <a:pt x="6718" y="18719"/>
                    <a:pt x="7600" y="20634"/>
                    <a:pt x="6749" y="22245"/>
                  </a:cubicBezTo>
                  <a:cubicBezTo>
                    <a:pt x="5655" y="24312"/>
                    <a:pt x="2524" y="24372"/>
                    <a:pt x="1186" y="26287"/>
                  </a:cubicBezTo>
                  <a:cubicBezTo>
                    <a:pt x="1" y="28020"/>
                    <a:pt x="943" y="30573"/>
                    <a:pt x="2676" y="31758"/>
                  </a:cubicBezTo>
                  <a:cubicBezTo>
                    <a:pt x="4147" y="32765"/>
                    <a:pt x="5970" y="33027"/>
                    <a:pt x="7771" y="33027"/>
                  </a:cubicBezTo>
                  <a:cubicBezTo>
                    <a:pt x="8090" y="33027"/>
                    <a:pt x="8409" y="33018"/>
                    <a:pt x="8724" y="33005"/>
                  </a:cubicBezTo>
                  <a:cubicBezTo>
                    <a:pt x="9929" y="32952"/>
                    <a:pt x="11143" y="32840"/>
                    <a:pt x="12344" y="32840"/>
                  </a:cubicBezTo>
                  <a:cubicBezTo>
                    <a:pt x="13235" y="32840"/>
                    <a:pt x="14119" y="32902"/>
                    <a:pt x="14986" y="33096"/>
                  </a:cubicBezTo>
                  <a:cubicBezTo>
                    <a:pt x="17235" y="33582"/>
                    <a:pt x="19181" y="34980"/>
                    <a:pt x="21339" y="35831"/>
                  </a:cubicBezTo>
                  <a:cubicBezTo>
                    <a:pt x="23138" y="36555"/>
                    <a:pt x="25049" y="36884"/>
                    <a:pt x="26978" y="36884"/>
                  </a:cubicBezTo>
                  <a:cubicBezTo>
                    <a:pt x="30556" y="36884"/>
                    <a:pt x="34196" y="35753"/>
                    <a:pt x="37296" y="33917"/>
                  </a:cubicBezTo>
                  <a:cubicBezTo>
                    <a:pt x="42038" y="31090"/>
                    <a:pt x="45746" y="26743"/>
                    <a:pt x="48968" y="22214"/>
                  </a:cubicBezTo>
                  <a:lnTo>
                    <a:pt x="43224" y="2639"/>
                  </a:lnTo>
                  <a:cubicBezTo>
                    <a:pt x="41300" y="869"/>
                    <a:pt x="38699" y="0"/>
                    <a:pt x="360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4" name="Google Shape;392;g191abe3b490_12_4485"/>
            <p:cNvSpPr/>
            <p:nvPr/>
          </p:nvSpPr>
          <p:spPr>
            <a:xfrm>
              <a:off x="3571750" y="3108175"/>
              <a:ext cx="769050" cy="548450"/>
            </a:xfrm>
            <a:custGeom>
              <a:avLst/>
              <a:ahLst/>
              <a:rect l="l" t="t" r="r" b="b"/>
              <a:pathLst>
                <a:path w="30762" h="21938" extrusionOk="0">
                  <a:moveTo>
                    <a:pt x="22407" y="0"/>
                  </a:moveTo>
                  <a:cubicBezTo>
                    <a:pt x="19806" y="0"/>
                    <a:pt x="17193" y="1078"/>
                    <a:pt x="15624" y="3164"/>
                  </a:cubicBezTo>
                  <a:cubicBezTo>
                    <a:pt x="13861" y="5505"/>
                    <a:pt x="12858" y="9031"/>
                    <a:pt x="9971" y="9426"/>
                  </a:cubicBezTo>
                  <a:cubicBezTo>
                    <a:pt x="9806" y="9449"/>
                    <a:pt x="9643" y="9459"/>
                    <a:pt x="9480" y="9459"/>
                  </a:cubicBezTo>
                  <a:cubicBezTo>
                    <a:pt x="7805" y="9459"/>
                    <a:pt x="6186" y="8351"/>
                    <a:pt x="4484" y="8351"/>
                  </a:cubicBezTo>
                  <a:cubicBezTo>
                    <a:pt x="4388" y="8351"/>
                    <a:pt x="4292" y="8354"/>
                    <a:pt x="4196" y="8362"/>
                  </a:cubicBezTo>
                  <a:cubicBezTo>
                    <a:pt x="1582" y="8575"/>
                    <a:pt x="1" y="11766"/>
                    <a:pt x="670" y="14319"/>
                  </a:cubicBezTo>
                  <a:cubicBezTo>
                    <a:pt x="1338" y="16842"/>
                    <a:pt x="3588" y="18666"/>
                    <a:pt x="5928" y="19851"/>
                  </a:cubicBezTo>
                  <a:cubicBezTo>
                    <a:pt x="8700" y="21263"/>
                    <a:pt x="11787" y="21937"/>
                    <a:pt x="14885" y="21937"/>
                  </a:cubicBezTo>
                  <a:cubicBezTo>
                    <a:pt x="20860" y="21937"/>
                    <a:pt x="26878" y="19430"/>
                    <a:pt x="30761" y="14866"/>
                  </a:cubicBezTo>
                  <a:lnTo>
                    <a:pt x="28208" y="2222"/>
                  </a:lnTo>
                  <a:cubicBezTo>
                    <a:pt x="26673" y="728"/>
                    <a:pt x="24544" y="0"/>
                    <a:pt x="2240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5" name="Google Shape;393;g191abe3b490_12_4485"/>
            <p:cNvSpPr/>
            <p:nvPr/>
          </p:nvSpPr>
          <p:spPr>
            <a:xfrm>
              <a:off x="6102200" y="3118875"/>
              <a:ext cx="243200" cy="257625"/>
            </a:xfrm>
            <a:custGeom>
              <a:avLst/>
              <a:ahLst/>
              <a:rect l="l" t="t" r="r" b="b"/>
              <a:pathLst>
                <a:path w="9728" h="10305" extrusionOk="0">
                  <a:moveTo>
                    <a:pt x="5715" y="1"/>
                  </a:moveTo>
                  <a:lnTo>
                    <a:pt x="1" y="4074"/>
                  </a:lnTo>
                  <a:lnTo>
                    <a:pt x="4408" y="10305"/>
                  </a:lnTo>
                  <a:lnTo>
                    <a:pt x="4651" y="10244"/>
                  </a:lnTo>
                  <a:lnTo>
                    <a:pt x="9727" y="8147"/>
                  </a:lnTo>
                  <a:lnTo>
                    <a:pt x="5715" y="1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6" name="Google Shape;394;g191abe3b490_12_4485"/>
            <p:cNvSpPr/>
            <p:nvPr/>
          </p:nvSpPr>
          <p:spPr>
            <a:xfrm>
              <a:off x="6206300" y="3294400"/>
              <a:ext cx="396700" cy="294125"/>
            </a:xfrm>
            <a:custGeom>
              <a:avLst/>
              <a:ahLst/>
              <a:rect l="l" t="t" r="r" b="b"/>
              <a:pathLst>
                <a:path w="15868" h="11765" extrusionOk="0">
                  <a:moveTo>
                    <a:pt x="5320" y="1"/>
                  </a:moveTo>
                  <a:lnTo>
                    <a:pt x="1" y="3192"/>
                  </a:lnTo>
                  <a:lnTo>
                    <a:pt x="5199" y="11764"/>
                  </a:lnTo>
                  <a:lnTo>
                    <a:pt x="15867" y="5320"/>
                  </a:lnTo>
                  <a:cubicBezTo>
                    <a:pt x="15683" y="5052"/>
                    <a:pt x="15036" y="4955"/>
                    <a:pt x="14195" y="4955"/>
                  </a:cubicBezTo>
                  <a:cubicBezTo>
                    <a:pt x="11989" y="4955"/>
                    <a:pt x="8451" y="5624"/>
                    <a:pt x="8451" y="5624"/>
                  </a:cubicBezTo>
                  <a:lnTo>
                    <a:pt x="5320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7" name="Google Shape;395;g191abe3b490_12_4485"/>
            <p:cNvSpPr/>
            <p:nvPr/>
          </p:nvSpPr>
          <p:spPr>
            <a:xfrm>
              <a:off x="6323325" y="3469225"/>
              <a:ext cx="25875" cy="24100"/>
            </a:xfrm>
            <a:custGeom>
              <a:avLst/>
              <a:ahLst/>
              <a:rect l="l" t="t" r="r" b="b"/>
              <a:pathLst>
                <a:path w="1035" h="964" extrusionOk="0">
                  <a:moveTo>
                    <a:pt x="534" y="1"/>
                  </a:moveTo>
                  <a:cubicBezTo>
                    <a:pt x="394" y="1"/>
                    <a:pt x="254" y="63"/>
                    <a:pt x="153" y="181"/>
                  </a:cubicBezTo>
                  <a:lnTo>
                    <a:pt x="183" y="151"/>
                  </a:lnTo>
                  <a:lnTo>
                    <a:pt x="183" y="151"/>
                  </a:lnTo>
                  <a:cubicBezTo>
                    <a:pt x="1" y="333"/>
                    <a:pt x="1" y="637"/>
                    <a:pt x="183" y="850"/>
                  </a:cubicBezTo>
                  <a:cubicBezTo>
                    <a:pt x="274" y="926"/>
                    <a:pt x="396" y="964"/>
                    <a:pt x="518" y="964"/>
                  </a:cubicBezTo>
                  <a:cubicBezTo>
                    <a:pt x="639" y="964"/>
                    <a:pt x="761" y="926"/>
                    <a:pt x="852" y="850"/>
                  </a:cubicBezTo>
                  <a:cubicBezTo>
                    <a:pt x="1034" y="637"/>
                    <a:pt x="1034" y="333"/>
                    <a:pt x="852" y="121"/>
                  </a:cubicBezTo>
                  <a:cubicBezTo>
                    <a:pt x="758" y="40"/>
                    <a:pt x="646" y="1"/>
                    <a:pt x="5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8" name="Google Shape;396;g191abe3b490_12_4485"/>
            <p:cNvSpPr/>
            <p:nvPr/>
          </p:nvSpPr>
          <p:spPr>
            <a:xfrm>
              <a:off x="6324100" y="3420300"/>
              <a:ext cx="278900" cy="168225"/>
            </a:xfrm>
            <a:custGeom>
              <a:avLst/>
              <a:ahLst/>
              <a:rect l="l" t="t" r="r" b="b"/>
              <a:pathLst>
                <a:path w="11156" h="6729" extrusionOk="0">
                  <a:moveTo>
                    <a:pt x="10559" y="0"/>
                  </a:moveTo>
                  <a:cubicBezTo>
                    <a:pt x="10463" y="0"/>
                    <a:pt x="10396" y="11"/>
                    <a:pt x="10396" y="11"/>
                  </a:cubicBezTo>
                  <a:lnTo>
                    <a:pt x="0" y="5847"/>
                  </a:lnTo>
                  <a:lnTo>
                    <a:pt x="487" y="6728"/>
                  </a:lnTo>
                  <a:lnTo>
                    <a:pt x="11155" y="284"/>
                  </a:lnTo>
                  <a:cubicBezTo>
                    <a:pt x="11054" y="41"/>
                    <a:pt x="10750" y="0"/>
                    <a:pt x="1055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19" name="Google Shape;397;g191abe3b490_12_4485"/>
            <p:cNvSpPr/>
            <p:nvPr/>
          </p:nvSpPr>
          <p:spPr>
            <a:xfrm>
              <a:off x="6401600" y="3430825"/>
              <a:ext cx="19775" cy="30025"/>
            </a:xfrm>
            <a:custGeom>
              <a:avLst/>
              <a:ahLst/>
              <a:rect l="l" t="t" r="r" b="b"/>
              <a:pathLst>
                <a:path w="791" h="1201" extrusionOk="0">
                  <a:moveTo>
                    <a:pt x="734" y="0"/>
                  </a:moveTo>
                  <a:cubicBezTo>
                    <a:pt x="647" y="0"/>
                    <a:pt x="362" y="139"/>
                    <a:pt x="183" y="471"/>
                  </a:cubicBezTo>
                  <a:cubicBezTo>
                    <a:pt x="1" y="866"/>
                    <a:pt x="92" y="1201"/>
                    <a:pt x="153" y="1201"/>
                  </a:cubicBezTo>
                  <a:cubicBezTo>
                    <a:pt x="213" y="1201"/>
                    <a:pt x="213" y="866"/>
                    <a:pt x="396" y="562"/>
                  </a:cubicBezTo>
                  <a:cubicBezTo>
                    <a:pt x="548" y="258"/>
                    <a:pt x="791" y="76"/>
                    <a:pt x="760" y="15"/>
                  </a:cubicBezTo>
                  <a:cubicBezTo>
                    <a:pt x="760" y="5"/>
                    <a:pt x="751" y="0"/>
                    <a:pt x="7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0" name="Google Shape;398;g191abe3b490_12_4485"/>
            <p:cNvSpPr/>
            <p:nvPr/>
          </p:nvSpPr>
          <p:spPr>
            <a:xfrm>
              <a:off x="6445000" y="3425800"/>
              <a:ext cx="11350" cy="30550"/>
            </a:xfrm>
            <a:custGeom>
              <a:avLst/>
              <a:ahLst/>
              <a:rect l="l" t="t" r="r" b="b"/>
              <a:pathLst>
                <a:path w="454" h="1222" extrusionOk="0">
                  <a:moveTo>
                    <a:pt x="413" y="0"/>
                  </a:moveTo>
                  <a:cubicBezTo>
                    <a:pt x="354" y="0"/>
                    <a:pt x="114" y="184"/>
                    <a:pt x="58" y="551"/>
                  </a:cubicBezTo>
                  <a:cubicBezTo>
                    <a:pt x="0" y="955"/>
                    <a:pt x="189" y="1222"/>
                    <a:pt x="234" y="1222"/>
                  </a:cubicBezTo>
                  <a:cubicBezTo>
                    <a:pt x="237" y="1222"/>
                    <a:pt x="239" y="1221"/>
                    <a:pt x="240" y="1219"/>
                  </a:cubicBezTo>
                  <a:cubicBezTo>
                    <a:pt x="301" y="1189"/>
                    <a:pt x="210" y="915"/>
                    <a:pt x="240" y="581"/>
                  </a:cubicBezTo>
                  <a:cubicBezTo>
                    <a:pt x="301" y="277"/>
                    <a:pt x="453" y="34"/>
                    <a:pt x="423" y="3"/>
                  </a:cubicBezTo>
                  <a:cubicBezTo>
                    <a:pt x="420" y="1"/>
                    <a:pt x="417" y="0"/>
                    <a:pt x="4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1" name="Google Shape;399;g191abe3b490_12_4485"/>
            <p:cNvSpPr/>
            <p:nvPr/>
          </p:nvSpPr>
          <p:spPr>
            <a:xfrm>
              <a:off x="6482950" y="3421250"/>
              <a:ext cx="9875" cy="28425"/>
            </a:xfrm>
            <a:custGeom>
              <a:avLst/>
              <a:ahLst/>
              <a:rect l="l" t="t" r="r" b="b"/>
              <a:pathLst>
                <a:path w="395" h="1137" extrusionOk="0">
                  <a:moveTo>
                    <a:pt x="206" y="1"/>
                  </a:moveTo>
                  <a:cubicBezTo>
                    <a:pt x="163" y="1"/>
                    <a:pt x="0" y="265"/>
                    <a:pt x="29" y="611"/>
                  </a:cubicBezTo>
                  <a:cubicBezTo>
                    <a:pt x="84" y="911"/>
                    <a:pt x="260" y="1137"/>
                    <a:pt x="340" y="1137"/>
                  </a:cubicBezTo>
                  <a:cubicBezTo>
                    <a:pt x="349" y="1137"/>
                    <a:pt x="357" y="1134"/>
                    <a:pt x="364" y="1128"/>
                  </a:cubicBezTo>
                  <a:cubicBezTo>
                    <a:pt x="394" y="1097"/>
                    <a:pt x="272" y="884"/>
                    <a:pt x="242" y="581"/>
                  </a:cubicBezTo>
                  <a:cubicBezTo>
                    <a:pt x="212" y="277"/>
                    <a:pt x="272" y="33"/>
                    <a:pt x="212" y="3"/>
                  </a:cubicBezTo>
                  <a:cubicBezTo>
                    <a:pt x="210" y="1"/>
                    <a:pt x="208" y="1"/>
                    <a:pt x="20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2" name="Google Shape;400;g191abe3b490_12_4485"/>
            <p:cNvSpPr/>
            <p:nvPr/>
          </p:nvSpPr>
          <p:spPr>
            <a:xfrm>
              <a:off x="6371200" y="3400250"/>
              <a:ext cx="28150" cy="18875"/>
            </a:xfrm>
            <a:custGeom>
              <a:avLst/>
              <a:ahLst/>
              <a:rect l="l" t="t" r="r" b="b"/>
              <a:pathLst>
                <a:path w="1126" h="755" extrusionOk="0">
                  <a:moveTo>
                    <a:pt x="1006" y="1"/>
                  </a:moveTo>
                  <a:cubicBezTo>
                    <a:pt x="871" y="1"/>
                    <a:pt x="642" y="37"/>
                    <a:pt x="426" y="174"/>
                  </a:cubicBezTo>
                  <a:cubicBezTo>
                    <a:pt x="122" y="417"/>
                    <a:pt x="1" y="721"/>
                    <a:pt x="62" y="752"/>
                  </a:cubicBezTo>
                  <a:cubicBezTo>
                    <a:pt x="65" y="754"/>
                    <a:pt x="70" y="755"/>
                    <a:pt x="74" y="755"/>
                  </a:cubicBezTo>
                  <a:cubicBezTo>
                    <a:pt x="143" y="755"/>
                    <a:pt x="294" y="556"/>
                    <a:pt x="578" y="357"/>
                  </a:cubicBezTo>
                  <a:cubicBezTo>
                    <a:pt x="852" y="174"/>
                    <a:pt x="1125" y="83"/>
                    <a:pt x="1125" y="22"/>
                  </a:cubicBezTo>
                  <a:cubicBezTo>
                    <a:pt x="1125" y="12"/>
                    <a:pt x="1080" y="1"/>
                    <a:pt x="100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3" name="Google Shape;401;g191abe3b490_12_4485"/>
            <p:cNvSpPr/>
            <p:nvPr/>
          </p:nvSpPr>
          <p:spPr>
            <a:xfrm>
              <a:off x="6332450" y="3367050"/>
              <a:ext cx="50950" cy="18575"/>
            </a:xfrm>
            <a:custGeom>
              <a:avLst/>
              <a:ahLst/>
              <a:rect l="l" t="t" r="r" b="b"/>
              <a:pathLst>
                <a:path w="2038" h="743" extrusionOk="0">
                  <a:moveTo>
                    <a:pt x="1110" y="173"/>
                  </a:moveTo>
                  <a:cubicBezTo>
                    <a:pt x="1216" y="173"/>
                    <a:pt x="1323" y="180"/>
                    <a:pt x="1429" y="195"/>
                  </a:cubicBezTo>
                  <a:cubicBezTo>
                    <a:pt x="1629" y="212"/>
                    <a:pt x="1784" y="247"/>
                    <a:pt x="1882" y="270"/>
                  </a:cubicBezTo>
                  <a:lnTo>
                    <a:pt x="1882" y="270"/>
                  </a:lnTo>
                  <a:cubicBezTo>
                    <a:pt x="1723" y="316"/>
                    <a:pt x="1567" y="362"/>
                    <a:pt x="1429" y="408"/>
                  </a:cubicBezTo>
                  <a:cubicBezTo>
                    <a:pt x="1216" y="469"/>
                    <a:pt x="1004" y="499"/>
                    <a:pt x="791" y="530"/>
                  </a:cubicBezTo>
                  <a:lnTo>
                    <a:pt x="213" y="530"/>
                  </a:lnTo>
                  <a:cubicBezTo>
                    <a:pt x="183" y="499"/>
                    <a:pt x="183" y="530"/>
                    <a:pt x="183" y="469"/>
                  </a:cubicBezTo>
                  <a:cubicBezTo>
                    <a:pt x="183" y="408"/>
                    <a:pt x="274" y="347"/>
                    <a:pt x="396" y="286"/>
                  </a:cubicBezTo>
                  <a:cubicBezTo>
                    <a:pt x="517" y="256"/>
                    <a:pt x="639" y="226"/>
                    <a:pt x="791" y="195"/>
                  </a:cubicBezTo>
                  <a:cubicBezTo>
                    <a:pt x="897" y="180"/>
                    <a:pt x="1004" y="173"/>
                    <a:pt x="1110" y="173"/>
                  </a:cubicBezTo>
                  <a:close/>
                  <a:moveTo>
                    <a:pt x="954" y="0"/>
                  </a:moveTo>
                  <a:cubicBezTo>
                    <a:pt x="888" y="0"/>
                    <a:pt x="823" y="4"/>
                    <a:pt x="760" y="13"/>
                  </a:cubicBezTo>
                  <a:cubicBezTo>
                    <a:pt x="639" y="43"/>
                    <a:pt x="487" y="74"/>
                    <a:pt x="365" y="104"/>
                  </a:cubicBezTo>
                  <a:cubicBezTo>
                    <a:pt x="304" y="135"/>
                    <a:pt x="213" y="165"/>
                    <a:pt x="153" y="195"/>
                  </a:cubicBezTo>
                  <a:cubicBezTo>
                    <a:pt x="61" y="256"/>
                    <a:pt x="1" y="347"/>
                    <a:pt x="1" y="469"/>
                  </a:cubicBezTo>
                  <a:cubicBezTo>
                    <a:pt x="1" y="560"/>
                    <a:pt x="61" y="682"/>
                    <a:pt x="183" y="712"/>
                  </a:cubicBezTo>
                  <a:cubicBezTo>
                    <a:pt x="274" y="742"/>
                    <a:pt x="335" y="742"/>
                    <a:pt x="426" y="742"/>
                  </a:cubicBezTo>
                  <a:cubicBezTo>
                    <a:pt x="791" y="742"/>
                    <a:pt x="1156" y="682"/>
                    <a:pt x="1490" y="560"/>
                  </a:cubicBezTo>
                  <a:cubicBezTo>
                    <a:pt x="1734" y="458"/>
                    <a:pt x="1897" y="356"/>
                    <a:pt x="1978" y="291"/>
                  </a:cubicBezTo>
                  <a:lnTo>
                    <a:pt x="1978" y="291"/>
                  </a:lnTo>
                  <a:cubicBezTo>
                    <a:pt x="1984" y="292"/>
                    <a:pt x="1990" y="293"/>
                    <a:pt x="1994" y="293"/>
                  </a:cubicBezTo>
                  <a:cubicBezTo>
                    <a:pt x="2003" y="293"/>
                    <a:pt x="2007" y="291"/>
                    <a:pt x="2007" y="286"/>
                  </a:cubicBezTo>
                  <a:cubicBezTo>
                    <a:pt x="2011" y="282"/>
                    <a:pt x="2010" y="276"/>
                    <a:pt x="2005" y="268"/>
                  </a:cubicBezTo>
                  <a:lnTo>
                    <a:pt x="2005" y="268"/>
                  </a:lnTo>
                  <a:cubicBezTo>
                    <a:pt x="2026" y="248"/>
                    <a:pt x="2037" y="233"/>
                    <a:pt x="2037" y="226"/>
                  </a:cubicBezTo>
                  <a:lnTo>
                    <a:pt x="2037" y="226"/>
                  </a:lnTo>
                  <a:cubicBezTo>
                    <a:pt x="2017" y="231"/>
                    <a:pt x="1997" y="237"/>
                    <a:pt x="1977" y="243"/>
                  </a:cubicBezTo>
                  <a:lnTo>
                    <a:pt x="1977" y="243"/>
                  </a:lnTo>
                  <a:cubicBezTo>
                    <a:pt x="1905" y="191"/>
                    <a:pt x="1715" y="109"/>
                    <a:pt x="1429" y="43"/>
                  </a:cubicBezTo>
                  <a:cubicBezTo>
                    <a:pt x="1279" y="22"/>
                    <a:pt x="1113" y="0"/>
                    <a:pt x="95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4" name="Google Shape;402;g191abe3b490_12_4485"/>
            <p:cNvSpPr/>
            <p:nvPr/>
          </p:nvSpPr>
          <p:spPr>
            <a:xfrm>
              <a:off x="6362075" y="3325950"/>
              <a:ext cx="25875" cy="49900"/>
            </a:xfrm>
            <a:custGeom>
              <a:avLst/>
              <a:ahLst/>
              <a:rect l="l" t="t" r="r" b="b"/>
              <a:pathLst>
                <a:path w="1035" h="1996" extrusionOk="0">
                  <a:moveTo>
                    <a:pt x="366" y="0"/>
                  </a:moveTo>
                  <a:cubicBezTo>
                    <a:pt x="313" y="0"/>
                    <a:pt x="259" y="16"/>
                    <a:pt x="214" y="46"/>
                  </a:cubicBezTo>
                  <a:cubicBezTo>
                    <a:pt x="62" y="168"/>
                    <a:pt x="1" y="350"/>
                    <a:pt x="31" y="532"/>
                  </a:cubicBezTo>
                  <a:cubicBezTo>
                    <a:pt x="31" y="684"/>
                    <a:pt x="62" y="806"/>
                    <a:pt x="92" y="927"/>
                  </a:cubicBezTo>
                  <a:cubicBezTo>
                    <a:pt x="153" y="1171"/>
                    <a:pt x="244" y="1383"/>
                    <a:pt x="366" y="1566"/>
                  </a:cubicBezTo>
                  <a:cubicBezTo>
                    <a:pt x="585" y="1867"/>
                    <a:pt x="780" y="1996"/>
                    <a:pt x="816" y="1996"/>
                  </a:cubicBezTo>
                  <a:cubicBezTo>
                    <a:pt x="820" y="1996"/>
                    <a:pt x="822" y="1994"/>
                    <a:pt x="822" y="1991"/>
                  </a:cubicBezTo>
                  <a:cubicBezTo>
                    <a:pt x="852" y="1961"/>
                    <a:pt x="670" y="1809"/>
                    <a:pt x="487" y="1505"/>
                  </a:cubicBezTo>
                  <a:cubicBezTo>
                    <a:pt x="396" y="1323"/>
                    <a:pt x="335" y="1140"/>
                    <a:pt x="275" y="927"/>
                  </a:cubicBezTo>
                  <a:cubicBezTo>
                    <a:pt x="244" y="806"/>
                    <a:pt x="244" y="654"/>
                    <a:pt x="244" y="532"/>
                  </a:cubicBezTo>
                  <a:cubicBezTo>
                    <a:pt x="214" y="441"/>
                    <a:pt x="244" y="320"/>
                    <a:pt x="305" y="259"/>
                  </a:cubicBezTo>
                  <a:cubicBezTo>
                    <a:pt x="316" y="253"/>
                    <a:pt x="327" y="251"/>
                    <a:pt x="340" y="251"/>
                  </a:cubicBezTo>
                  <a:cubicBezTo>
                    <a:pt x="398" y="251"/>
                    <a:pt x="473" y="305"/>
                    <a:pt x="548" y="380"/>
                  </a:cubicBezTo>
                  <a:cubicBezTo>
                    <a:pt x="609" y="472"/>
                    <a:pt x="670" y="563"/>
                    <a:pt x="730" y="684"/>
                  </a:cubicBezTo>
                  <a:cubicBezTo>
                    <a:pt x="822" y="867"/>
                    <a:pt x="882" y="1079"/>
                    <a:pt x="882" y="1292"/>
                  </a:cubicBezTo>
                  <a:cubicBezTo>
                    <a:pt x="852" y="1475"/>
                    <a:pt x="822" y="1657"/>
                    <a:pt x="791" y="1839"/>
                  </a:cubicBezTo>
                  <a:cubicBezTo>
                    <a:pt x="791" y="1841"/>
                    <a:pt x="792" y="1842"/>
                    <a:pt x="793" y="1842"/>
                  </a:cubicBezTo>
                  <a:cubicBezTo>
                    <a:pt x="814" y="1842"/>
                    <a:pt x="976" y="1632"/>
                    <a:pt x="1004" y="1262"/>
                  </a:cubicBezTo>
                  <a:cubicBezTo>
                    <a:pt x="1034" y="1049"/>
                    <a:pt x="1004" y="806"/>
                    <a:pt x="913" y="593"/>
                  </a:cubicBezTo>
                  <a:cubicBezTo>
                    <a:pt x="852" y="441"/>
                    <a:pt x="791" y="320"/>
                    <a:pt x="700" y="228"/>
                  </a:cubicBezTo>
                  <a:cubicBezTo>
                    <a:pt x="639" y="168"/>
                    <a:pt x="578" y="107"/>
                    <a:pt x="518" y="46"/>
                  </a:cubicBezTo>
                  <a:cubicBezTo>
                    <a:pt x="472" y="16"/>
                    <a:pt x="419" y="0"/>
                    <a:pt x="36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5" name="Google Shape;403;g191abe3b490_12_4485"/>
            <p:cNvSpPr/>
            <p:nvPr/>
          </p:nvSpPr>
          <p:spPr>
            <a:xfrm>
              <a:off x="5805075" y="2586200"/>
              <a:ext cx="528150" cy="772825"/>
            </a:xfrm>
            <a:custGeom>
              <a:avLst/>
              <a:ahLst/>
              <a:rect l="l" t="t" r="r" b="b"/>
              <a:pathLst>
                <a:path w="21126" h="30913" extrusionOk="0">
                  <a:moveTo>
                    <a:pt x="8542" y="0"/>
                  </a:moveTo>
                  <a:lnTo>
                    <a:pt x="1" y="9453"/>
                  </a:lnTo>
                  <a:lnTo>
                    <a:pt x="13649" y="30913"/>
                  </a:lnTo>
                  <a:lnTo>
                    <a:pt x="21126" y="25837"/>
                  </a:lnTo>
                  <a:lnTo>
                    <a:pt x="8542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6" name="Google Shape;404;g191abe3b490_12_4485"/>
            <p:cNvSpPr/>
            <p:nvPr/>
          </p:nvSpPr>
          <p:spPr>
            <a:xfrm>
              <a:off x="5808125" y="2704725"/>
              <a:ext cx="25850" cy="104150"/>
            </a:xfrm>
            <a:custGeom>
              <a:avLst/>
              <a:ahLst/>
              <a:rect l="l" t="t" r="r" b="b"/>
              <a:pathLst>
                <a:path w="1034" h="4166" extrusionOk="0">
                  <a:moveTo>
                    <a:pt x="973" y="1"/>
                  </a:moveTo>
                  <a:cubicBezTo>
                    <a:pt x="244" y="1247"/>
                    <a:pt x="1" y="2737"/>
                    <a:pt x="274" y="4165"/>
                  </a:cubicBezTo>
                  <a:cubicBezTo>
                    <a:pt x="335" y="4165"/>
                    <a:pt x="244" y="3193"/>
                    <a:pt x="426" y="2068"/>
                  </a:cubicBezTo>
                  <a:cubicBezTo>
                    <a:pt x="639" y="913"/>
                    <a:pt x="1034" y="31"/>
                    <a:pt x="100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7" name="Google Shape;405;g191abe3b490_12_4485"/>
            <p:cNvSpPr/>
            <p:nvPr/>
          </p:nvSpPr>
          <p:spPr>
            <a:xfrm>
              <a:off x="5791400" y="2706250"/>
              <a:ext cx="21300" cy="103375"/>
            </a:xfrm>
            <a:custGeom>
              <a:avLst/>
              <a:ahLst/>
              <a:rect l="l" t="t" r="r" b="b"/>
              <a:pathLst>
                <a:path w="852" h="4135" extrusionOk="0">
                  <a:moveTo>
                    <a:pt x="244" y="1"/>
                  </a:moveTo>
                  <a:cubicBezTo>
                    <a:pt x="1" y="1399"/>
                    <a:pt x="214" y="2858"/>
                    <a:pt x="791" y="4135"/>
                  </a:cubicBezTo>
                  <a:cubicBezTo>
                    <a:pt x="852" y="4135"/>
                    <a:pt x="578" y="3223"/>
                    <a:pt x="396" y="2098"/>
                  </a:cubicBezTo>
                  <a:cubicBezTo>
                    <a:pt x="244" y="943"/>
                    <a:pt x="305" y="1"/>
                    <a:pt x="24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8" name="Google Shape;406;g191abe3b490_12_4485"/>
            <p:cNvSpPr/>
            <p:nvPr/>
          </p:nvSpPr>
          <p:spPr>
            <a:xfrm>
              <a:off x="3957025" y="2748800"/>
              <a:ext cx="726475" cy="988650"/>
            </a:xfrm>
            <a:custGeom>
              <a:avLst/>
              <a:ahLst/>
              <a:rect l="l" t="t" r="r" b="b"/>
              <a:pathLst>
                <a:path w="29059" h="39546" extrusionOk="0">
                  <a:moveTo>
                    <a:pt x="11308" y="1"/>
                  </a:moveTo>
                  <a:cubicBezTo>
                    <a:pt x="1" y="14378"/>
                    <a:pt x="760" y="30184"/>
                    <a:pt x="18967" y="39546"/>
                  </a:cubicBezTo>
                  <a:lnTo>
                    <a:pt x="29059" y="28238"/>
                  </a:lnTo>
                  <a:lnTo>
                    <a:pt x="20670" y="2889"/>
                  </a:lnTo>
                  <a:lnTo>
                    <a:pt x="11308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29" name="Google Shape;407;g191abe3b490_12_4485"/>
            <p:cNvSpPr/>
            <p:nvPr/>
          </p:nvSpPr>
          <p:spPr>
            <a:xfrm>
              <a:off x="4272375" y="2368675"/>
              <a:ext cx="2472725" cy="1291275"/>
            </a:xfrm>
            <a:custGeom>
              <a:avLst/>
              <a:ahLst/>
              <a:rect l="l" t="t" r="r" b="b"/>
              <a:pathLst>
                <a:path w="98909" h="51651" extrusionOk="0">
                  <a:moveTo>
                    <a:pt x="76960" y="1"/>
                  </a:moveTo>
                  <a:cubicBezTo>
                    <a:pt x="75435" y="1"/>
                    <a:pt x="73887" y="181"/>
                    <a:pt x="72343" y="555"/>
                  </a:cubicBezTo>
                  <a:lnTo>
                    <a:pt x="8968" y="15814"/>
                  </a:lnTo>
                  <a:cubicBezTo>
                    <a:pt x="2980" y="19309"/>
                    <a:pt x="1" y="26665"/>
                    <a:pt x="730" y="33899"/>
                  </a:cubicBezTo>
                  <a:cubicBezTo>
                    <a:pt x="1521" y="41802"/>
                    <a:pt x="6749" y="49523"/>
                    <a:pt x="16354" y="51650"/>
                  </a:cubicBezTo>
                  <a:lnTo>
                    <a:pt x="80762" y="38763"/>
                  </a:lnTo>
                  <a:cubicBezTo>
                    <a:pt x="92009" y="36513"/>
                    <a:pt x="98908" y="25115"/>
                    <a:pt x="95717" y="14112"/>
                  </a:cubicBezTo>
                  <a:cubicBezTo>
                    <a:pt x="93243" y="5581"/>
                    <a:pt x="85459" y="1"/>
                    <a:pt x="76960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0" name="Google Shape;408;g191abe3b490_12_4485"/>
            <p:cNvSpPr/>
            <p:nvPr/>
          </p:nvSpPr>
          <p:spPr>
            <a:xfrm>
              <a:off x="4286050" y="2365825"/>
              <a:ext cx="2410425" cy="1295650"/>
            </a:xfrm>
            <a:custGeom>
              <a:avLst/>
              <a:ahLst/>
              <a:rect l="l" t="t" r="r" b="b"/>
              <a:pathLst>
                <a:path w="96417" h="51826" extrusionOk="0">
                  <a:moveTo>
                    <a:pt x="75686" y="1"/>
                  </a:moveTo>
                  <a:cubicBezTo>
                    <a:pt x="75261" y="31"/>
                    <a:pt x="74805" y="92"/>
                    <a:pt x="74379" y="122"/>
                  </a:cubicBezTo>
                  <a:lnTo>
                    <a:pt x="73710" y="183"/>
                  </a:lnTo>
                  <a:cubicBezTo>
                    <a:pt x="73498" y="213"/>
                    <a:pt x="73285" y="244"/>
                    <a:pt x="73072" y="305"/>
                  </a:cubicBezTo>
                  <a:lnTo>
                    <a:pt x="71796" y="548"/>
                  </a:lnTo>
                  <a:lnTo>
                    <a:pt x="69303" y="1125"/>
                  </a:lnTo>
                  <a:lnTo>
                    <a:pt x="59728" y="3466"/>
                  </a:lnTo>
                  <a:lnTo>
                    <a:pt x="42494" y="7630"/>
                  </a:lnTo>
                  <a:lnTo>
                    <a:pt x="17570" y="13679"/>
                  </a:lnTo>
                  <a:lnTo>
                    <a:pt x="10791" y="15320"/>
                  </a:lnTo>
                  <a:lnTo>
                    <a:pt x="9028" y="15776"/>
                  </a:lnTo>
                  <a:lnTo>
                    <a:pt x="8421" y="15928"/>
                  </a:lnTo>
                  <a:lnTo>
                    <a:pt x="8421" y="15928"/>
                  </a:lnTo>
                  <a:lnTo>
                    <a:pt x="9028" y="15806"/>
                  </a:lnTo>
                  <a:lnTo>
                    <a:pt x="10791" y="15381"/>
                  </a:lnTo>
                  <a:lnTo>
                    <a:pt x="17600" y="13739"/>
                  </a:lnTo>
                  <a:lnTo>
                    <a:pt x="42525" y="7782"/>
                  </a:lnTo>
                  <a:lnTo>
                    <a:pt x="59759" y="3618"/>
                  </a:lnTo>
                  <a:lnTo>
                    <a:pt x="69334" y="1338"/>
                  </a:lnTo>
                  <a:lnTo>
                    <a:pt x="71856" y="760"/>
                  </a:lnTo>
                  <a:lnTo>
                    <a:pt x="73103" y="517"/>
                  </a:lnTo>
                  <a:cubicBezTo>
                    <a:pt x="73315" y="487"/>
                    <a:pt x="73528" y="426"/>
                    <a:pt x="73741" y="396"/>
                  </a:cubicBezTo>
                  <a:lnTo>
                    <a:pt x="74410" y="335"/>
                  </a:lnTo>
                  <a:cubicBezTo>
                    <a:pt x="74835" y="305"/>
                    <a:pt x="75261" y="244"/>
                    <a:pt x="75686" y="244"/>
                  </a:cubicBezTo>
                  <a:lnTo>
                    <a:pt x="77024" y="244"/>
                  </a:lnTo>
                  <a:cubicBezTo>
                    <a:pt x="77449" y="244"/>
                    <a:pt x="77905" y="274"/>
                    <a:pt x="78331" y="335"/>
                  </a:cubicBezTo>
                  <a:lnTo>
                    <a:pt x="78999" y="396"/>
                  </a:lnTo>
                  <a:lnTo>
                    <a:pt x="79334" y="426"/>
                  </a:lnTo>
                  <a:lnTo>
                    <a:pt x="79668" y="487"/>
                  </a:lnTo>
                  <a:lnTo>
                    <a:pt x="80975" y="760"/>
                  </a:lnTo>
                  <a:cubicBezTo>
                    <a:pt x="81401" y="882"/>
                    <a:pt x="81826" y="1034"/>
                    <a:pt x="82252" y="1156"/>
                  </a:cubicBezTo>
                  <a:cubicBezTo>
                    <a:pt x="82464" y="1216"/>
                    <a:pt x="82708" y="1277"/>
                    <a:pt x="82920" y="1338"/>
                  </a:cubicBezTo>
                  <a:lnTo>
                    <a:pt x="83528" y="1612"/>
                  </a:lnTo>
                  <a:lnTo>
                    <a:pt x="84167" y="1855"/>
                  </a:lnTo>
                  <a:cubicBezTo>
                    <a:pt x="84379" y="1946"/>
                    <a:pt x="84592" y="2037"/>
                    <a:pt x="84805" y="2128"/>
                  </a:cubicBezTo>
                  <a:lnTo>
                    <a:pt x="86021" y="2767"/>
                  </a:lnTo>
                  <a:cubicBezTo>
                    <a:pt x="86416" y="2979"/>
                    <a:pt x="86781" y="3253"/>
                    <a:pt x="87176" y="3496"/>
                  </a:cubicBezTo>
                  <a:cubicBezTo>
                    <a:pt x="87358" y="3618"/>
                    <a:pt x="87571" y="3739"/>
                    <a:pt x="87753" y="3891"/>
                  </a:cubicBezTo>
                  <a:lnTo>
                    <a:pt x="88300" y="4317"/>
                  </a:lnTo>
                  <a:lnTo>
                    <a:pt x="88848" y="4742"/>
                  </a:lnTo>
                  <a:lnTo>
                    <a:pt x="89121" y="4925"/>
                  </a:lnTo>
                  <a:lnTo>
                    <a:pt x="89364" y="5168"/>
                  </a:lnTo>
                  <a:cubicBezTo>
                    <a:pt x="92221" y="7721"/>
                    <a:pt x="94258" y="11065"/>
                    <a:pt x="95231" y="14773"/>
                  </a:cubicBezTo>
                  <a:cubicBezTo>
                    <a:pt x="96234" y="18603"/>
                    <a:pt x="96021" y="22676"/>
                    <a:pt x="94653" y="26414"/>
                  </a:cubicBezTo>
                  <a:cubicBezTo>
                    <a:pt x="93225" y="30244"/>
                    <a:pt x="90641" y="33527"/>
                    <a:pt x="87237" y="35807"/>
                  </a:cubicBezTo>
                  <a:cubicBezTo>
                    <a:pt x="85808" y="36779"/>
                    <a:pt x="84258" y="37539"/>
                    <a:pt x="82647" y="38086"/>
                  </a:cubicBezTo>
                  <a:cubicBezTo>
                    <a:pt x="81005" y="38664"/>
                    <a:pt x="79303" y="38907"/>
                    <a:pt x="77662" y="39272"/>
                  </a:cubicBezTo>
                  <a:lnTo>
                    <a:pt x="67783" y="41247"/>
                  </a:lnTo>
                  <a:lnTo>
                    <a:pt x="48908" y="45016"/>
                  </a:lnTo>
                  <a:lnTo>
                    <a:pt x="15793" y="51670"/>
                  </a:lnTo>
                  <a:lnTo>
                    <a:pt x="15793" y="51670"/>
                  </a:lnTo>
                  <a:cubicBezTo>
                    <a:pt x="14126" y="51275"/>
                    <a:pt x="12520" y="50698"/>
                    <a:pt x="10974" y="49971"/>
                  </a:cubicBezTo>
                  <a:cubicBezTo>
                    <a:pt x="9515" y="49211"/>
                    <a:pt x="8147" y="48269"/>
                    <a:pt x="6901" y="47205"/>
                  </a:cubicBezTo>
                  <a:cubicBezTo>
                    <a:pt x="5746" y="46171"/>
                    <a:pt x="4712" y="45016"/>
                    <a:pt x="3831" y="43740"/>
                  </a:cubicBezTo>
                  <a:cubicBezTo>
                    <a:pt x="3010" y="42524"/>
                    <a:pt x="2311" y="41247"/>
                    <a:pt x="1733" y="39910"/>
                  </a:cubicBezTo>
                  <a:cubicBezTo>
                    <a:pt x="1581" y="39576"/>
                    <a:pt x="1490" y="39241"/>
                    <a:pt x="1369" y="38907"/>
                  </a:cubicBezTo>
                  <a:cubicBezTo>
                    <a:pt x="1247" y="38603"/>
                    <a:pt x="1126" y="38269"/>
                    <a:pt x="1034" y="37934"/>
                  </a:cubicBezTo>
                  <a:cubicBezTo>
                    <a:pt x="943" y="37600"/>
                    <a:pt x="822" y="37296"/>
                    <a:pt x="761" y="36962"/>
                  </a:cubicBezTo>
                  <a:cubicBezTo>
                    <a:pt x="700" y="36627"/>
                    <a:pt x="639" y="36323"/>
                    <a:pt x="548" y="35989"/>
                  </a:cubicBezTo>
                  <a:cubicBezTo>
                    <a:pt x="487" y="35685"/>
                    <a:pt x="426" y="35351"/>
                    <a:pt x="396" y="35047"/>
                  </a:cubicBezTo>
                  <a:cubicBezTo>
                    <a:pt x="335" y="34712"/>
                    <a:pt x="305" y="34408"/>
                    <a:pt x="244" y="34074"/>
                  </a:cubicBezTo>
                  <a:cubicBezTo>
                    <a:pt x="214" y="33770"/>
                    <a:pt x="214" y="33466"/>
                    <a:pt x="183" y="33132"/>
                  </a:cubicBezTo>
                  <a:cubicBezTo>
                    <a:pt x="153" y="32828"/>
                    <a:pt x="153" y="32524"/>
                    <a:pt x="153" y="32220"/>
                  </a:cubicBezTo>
                  <a:cubicBezTo>
                    <a:pt x="92" y="30001"/>
                    <a:pt x="396" y="27782"/>
                    <a:pt x="1065" y="25654"/>
                  </a:cubicBezTo>
                  <a:cubicBezTo>
                    <a:pt x="1581" y="23952"/>
                    <a:pt x="2341" y="22341"/>
                    <a:pt x="3314" y="20852"/>
                  </a:cubicBezTo>
                  <a:cubicBezTo>
                    <a:pt x="4044" y="19758"/>
                    <a:pt x="4895" y="18755"/>
                    <a:pt x="5837" y="17873"/>
                  </a:cubicBezTo>
                  <a:cubicBezTo>
                    <a:pt x="6050" y="17691"/>
                    <a:pt x="6232" y="17508"/>
                    <a:pt x="6414" y="17356"/>
                  </a:cubicBezTo>
                  <a:lnTo>
                    <a:pt x="6901" y="16961"/>
                  </a:lnTo>
                  <a:lnTo>
                    <a:pt x="7357" y="16627"/>
                  </a:lnTo>
                  <a:lnTo>
                    <a:pt x="7721" y="16384"/>
                  </a:lnTo>
                  <a:lnTo>
                    <a:pt x="8421" y="15928"/>
                  </a:lnTo>
                  <a:lnTo>
                    <a:pt x="7721" y="16353"/>
                  </a:lnTo>
                  <a:lnTo>
                    <a:pt x="7326" y="16597"/>
                  </a:lnTo>
                  <a:lnTo>
                    <a:pt x="6901" y="16931"/>
                  </a:lnTo>
                  <a:lnTo>
                    <a:pt x="6354" y="17356"/>
                  </a:lnTo>
                  <a:cubicBezTo>
                    <a:pt x="6202" y="17478"/>
                    <a:pt x="6019" y="17660"/>
                    <a:pt x="5806" y="17843"/>
                  </a:cubicBezTo>
                  <a:cubicBezTo>
                    <a:pt x="4834" y="18724"/>
                    <a:pt x="3983" y="19727"/>
                    <a:pt x="3253" y="20822"/>
                  </a:cubicBezTo>
                  <a:cubicBezTo>
                    <a:pt x="2281" y="22311"/>
                    <a:pt x="1490" y="23922"/>
                    <a:pt x="974" y="25654"/>
                  </a:cubicBezTo>
                  <a:cubicBezTo>
                    <a:pt x="305" y="27782"/>
                    <a:pt x="1" y="30001"/>
                    <a:pt x="31" y="32220"/>
                  </a:cubicBezTo>
                  <a:cubicBezTo>
                    <a:pt x="31" y="32524"/>
                    <a:pt x="62" y="32828"/>
                    <a:pt x="62" y="33162"/>
                  </a:cubicBezTo>
                  <a:cubicBezTo>
                    <a:pt x="92" y="33466"/>
                    <a:pt x="92" y="33770"/>
                    <a:pt x="153" y="34104"/>
                  </a:cubicBezTo>
                  <a:cubicBezTo>
                    <a:pt x="183" y="34408"/>
                    <a:pt x="244" y="34743"/>
                    <a:pt x="274" y="35047"/>
                  </a:cubicBezTo>
                  <a:cubicBezTo>
                    <a:pt x="305" y="35381"/>
                    <a:pt x="366" y="35685"/>
                    <a:pt x="457" y="36019"/>
                  </a:cubicBezTo>
                  <a:lnTo>
                    <a:pt x="639" y="36992"/>
                  </a:lnTo>
                  <a:cubicBezTo>
                    <a:pt x="730" y="37326"/>
                    <a:pt x="822" y="37630"/>
                    <a:pt x="943" y="37965"/>
                  </a:cubicBezTo>
                  <a:cubicBezTo>
                    <a:pt x="1004" y="38299"/>
                    <a:pt x="1126" y="38633"/>
                    <a:pt x="1247" y="38968"/>
                  </a:cubicBezTo>
                  <a:cubicBezTo>
                    <a:pt x="1399" y="39272"/>
                    <a:pt x="1490" y="39636"/>
                    <a:pt x="1642" y="39940"/>
                  </a:cubicBezTo>
                  <a:cubicBezTo>
                    <a:pt x="2189" y="41308"/>
                    <a:pt x="2889" y="42615"/>
                    <a:pt x="3709" y="43831"/>
                  </a:cubicBezTo>
                  <a:cubicBezTo>
                    <a:pt x="5563" y="46475"/>
                    <a:pt x="8025" y="48633"/>
                    <a:pt x="10913" y="50092"/>
                  </a:cubicBezTo>
                  <a:cubicBezTo>
                    <a:pt x="12463" y="50852"/>
                    <a:pt x="14105" y="51430"/>
                    <a:pt x="15807" y="51825"/>
                  </a:cubicBezTo>
                  <a:lnTo>
                    <a:pt x="15837" y="51825"/>
                  </a:lnTo>
                  <a:lnTo>
                    <a:pt x="48968" y="45229"/>
                  </a:lnTo>
                  <a:lnTo>
                    <a:pt x="67814" y="41430"/>
                  </a:lnTo>
                  <a:lnTo>
                    <a:pt x="77692" y="39454"/>
                  </a:lnTo>
                  <a:cubicBezTo>
                    <a:pt x="79364" y="39089"/>
                    <a:pt x="81066" y="38846"/>
                    <a:pt x="82708" y="38269"/>
                  </a:cubicBezTo>
                  <a:cubicBezTo>
                    <a:pt x="84349" y="37721"/>
                    <a:pt x="85930" y="36931"/>
                    <a:pt x="87358" y="35959"/>
                  </a:cubicBezTo>
                  <a:cubicBezTo>
                    <a:pt x="90793" y="33648"/>
                    <a:pt x="93407" y="30335"/>
                    <a:pt x="94836" y="26475"/>
                  </a:cubicBezTo>
                  <a:cubicBezTo>
                    <a:pt x="96234" y="22706"/>
                    <a:pt x="96416" y="18603"/>
                    <a:pt x="95413" y="14742"/>
                  </a:cubicBezTo>
                  <a:cubicBezTo>
                    <a:pt x="94440" y="10973"/>
                    <a:pt x="92373" y="7630"/>
                    <a:pt x="89486" y="5046"/>
                  </a:cubicBezTo>
                  <a:lnTo>
                    <a:pt x="89243" y="4803"/>
                  </a:lnTo>
                  <a:lnTo>
                    <a:pt x="88969" y="4560"/>
                  </a:lnTo>
                  <a:lnTo>
                    <a:pt x="88422" y="4134"/>
                  </a:lnTo>
                  <a:lnTo>
                    <a:pt x="87844" y="3709"/>
                  </a:lnTo>
                  <a:cubicBezTo>
                    <a:pt x="87662" y="3557"/>
                    <a:pt x="87480" y="3466"/>
                    <a:pt x="87267" y="3314"/>
                  </a:cubicBezTo>
                  <a:cubicBezTo>
                    <a:pt x="86872" y="3071"/>
                    <a:pt x="86507" y="2797"/>
                    <a:pt x="86082" y="2554"/>
                  </a:cubicBezTo>
                  <a:lnTo>
                    <a:pt x="84866" y="1915"/>
                  </a:lnTo>
                  <a:cubicBezTo>
                    <a:pt x="84653" y="1824"/>
                    <a:pt x="84440" y="1733"/>
                    <a:pt x="84227" y="1642"/>
                  </a:cubicBezTo>
                  <a:lnTo>
                    <a:pt x="83589" y="1368"/>
                  </a:lnTo>
                  <a:lnTo>
                    <a:pt x="82981" y="1125"/>
                  </a:lnTo>
                  <a:cubicBezTo>
                    <a:pt x="82738" y="1064"/>
                    <a:pt x="82525" y="1004"/>
                    <a:pt x="82312" y="912"/>
                  </a:cubicBezTo>
                  <a:cubicBezTo>
                    <a:pt x="81887" y="791"/>
                    <a:pt x="81461" y="639"/>
                    <a:pt x="81005" y="548"/>
                  </a:cubicBezTo>
                  <a:lnTo>
                    <a:pt x="79668" y="274"/>
                  </a:lnTo>
                  <a:lnTo>
                    <a:pt x="79364" y="213"/>
                  </a:lnTo>
                  <a:lnTo>
                    <a:pt x="79030" y="183"/>
                  </a:lnTo>
                  <a:lnTo>
                    <a:pt x="78361" y="92"/>
                  </a:lnTo>
                  <a:cubicBezTo>
                    <a:pt x="77905" y="31"/>
                    <a:pt x="77449" y="1"/>
                    <a:pt x="7702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1" name="Google Shape;409;g191abe3b490_12_4485"/>
            <p:cNvSpPr/>
            <p:nvPr/>
          </p:nvSpPr>
          <p:spPr>
            <a:xfrm>
              <a:off x="4468425" y="3510225"/>
              <a:ext cx="1002325" cy="632250"/>
            </a:xfrm>
            <a:custGeom>
              <a:avLst/>
              <a:ahLst/>
              <a:rect l="l" t="t" r="r" b="b"/>
              <a:pathLst>
                <a:path w="40093" h="25290" extrusionOk="0">
                  <a:moveTo>
                    <a:pt x="38391" y="0"/>
                  </a:moveTo>
                  <a:lnTo>
                    <a:pt x="8512" y="5958"/>
                  </a:lnTo>
                  <a:lnTo>
                    <a:pt x="1" y="25289"/>
                  </a:lnTo>
                  <a:cubicBezTo>
                    <a:pt x="1" y="25289"/>
                    <a:pt x="40093" y="21429"/>
                    <a:pt x="3839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2" name="Google Shape;410;g191abe3b490_12_4485"/>
            <p:cNvSpPr/>
            <p:nvPr/>
          </p:nvSpPr>
          <p:spPr>
            <a:xfrm>
              <a:off x="4161450" y="2261975"/>
              <a:ext cx="1093500" cy="501300"/>
            </a:xfrm>
            <a:custGeom>
              <a:avLst/>
              <a:ahLst/>
              <a:rect l="l" t="t" r="r" b="b"/>
              <a:pathLst>
                <a:path w="43740" h="20052" extrusionOk="0">
                  <a:moveTo>
                    <a:pt x="12223" y="1"/>
                  </a:moveTo>
                  <a:cubicBezTo>
                    <a:pt x="8355" y="1"/>
                    <a:pt x="4256" y="566"/>
                    <a:pt x="0" y="1936"/>
                  </a:cubicBezTo>
                  <a:lnTo>
                    <a:pt x="13435" y="20051"/>
                  </a:lnTo>
                  <a:lnTo>
                    <a:pt x="43739" y="12757"/>
                  </a:lnTo>
                  <a:cubicBezTo>
                    <a:pt x="43739" y="12757"/>
                    <a:pt x="30590" y="1"/>
                    <a:pt x="1222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3" name="Google Shape;411;g191abe3b490_12_4485"/>
            <p:cNvSpPr/>
            <p:nvPr/>
          </p:nvSpPr>
          <p:spPr>
            <a:xfrm>
              <a:off x="6134875" y="2353600"/>
              <a:ext cx="942300" cy="956800"/>
            </a:xfrm>
            <a:custGeom>
              <a:avLst/>
              <a:ahLst/>
              <a:rect l="l" t="t" r="r" b="b"/>
              <a:pathLst>
                <a:path w="37692" h="38272" extrusionOk="0">
                  <a:moveTo>
                    <a:pt x="8602" y="0"/>
                  </a:moveTo>
                  <a:cubicBezTo>
                    <a:pt x="3414" y="0"/>
                    <a:pt x="1" y="885"/>
                    <a:pt x="1" y="885"/>
                  </a:cubicBezTo>
                  <a:cubicBezTo>
                    <a:pt x="8268" y="6964"/>
                    <a:pt x="13344" y="30733"/>
                    <a:pt x="9332" y="38271"/>
                  </a:cubicBezTo>
                  <a:cubicBezTo>
                    <a:pt x="32798" y="31402"/>
                    <a:pt x="37691" y="11280"/>
                    <a:pt x="37691" y="11280"/>
                  </a:cubicBezTo>
                  <a:cubicBezTo>
                    <a:pt x="27626" y="1902"/>
                    <a:pt x="16207" y="0"/>
                    <a:pt x="8602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4" name="Google Shape;412;g191abe3b490_12_4485"/>
            <p:cNvSpPr/>
            <p:nvPr/>
          </p:nvSpPr>
          <p:spPr>
            <a:xfrm>
              <a:off x="4230600" y="3438775"/>
              <a:ext cx="149700" cy="168750"/>
            </a:xfrm>
            <a:custGeom>
              <a:avLst/>
              <a:ahLst/>
              <a:rect l="l" t="t" r="r" b="b"/>
              <a:pathLst>
                <a:path w="5988" h="6750" extrusionOk="0">
                  <a:moveTo>
                    <a:pt x="5956" y="1"/>
                  </a:moveTo>
                  <a:cubicBezTo>
                    <a:pt x="5899" y="1"/>
                    <a:pt x="4543" y="1449"/>
                    <a:pt x="2918" y="3314"/>
                  </a:cubicBezTo>
                  <a:cubicBezTo>
                    <a:pt x="1277" y="5168"/>
                    <a:pt x="0" y="6719"/>
                    <a:pt x="30" y="6749"/>
                  </a:cubicBezTo>
                  <a:cubicBezTo>
                    <a:pt x="31" y="6749"/>
                    <a:pt x="32" y="6749"/>
                    <a:pt x="33" y="6749"/>
                  </a:cubicBezTo>
                  <a:cubicBezTo>
                    <a:pt x="119" y="6749"/>
                    <a:pt x="1475" y="5271"/>
                    <a:pt x="3070" y="3436"/>
                  </a:cubicBezTo>
                  <a:cubicBezTo>
                    <a:pt x="4711" y="1582"/>
                    <a:pt x="5988" y="32"/>
                    <a:pt x="5958" y="1"/>
                  </a:cubicBezTo>
                  <a:cubicBezTo>
                    <a:pt x="5957" y="1"/>
                    <a:pt x="5957" y="1"/>
                    <a:pt x="595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5" name="Google Shape;413;g191abe3b490_12_4485"/>
            <p:cNvSpPr/>
            <p:nvPr/>
          </p:nvSpPr>
          <p:spPr>
            <a:xfrm>
              <a:off x="4479075" y="2635575"/>
              <a:ext cx="2598100" cy="915700"/>
            </a:xfrm>
            <a:custGeom>
              <a:avLst/>
              <a:ahLst/>
              <a:rect l="l" t="t" r="r" b="b"/>
              <a:pathLst>
                <a:path w="103924" h="36628" extrusionOk="0">
                  <a:moveTo>
                    <a:pt x="103923" y="1"/>
                  </a:moveTo>
                  <a:cubicBezTo>
                    <a:pt x="103923" y="1"/>
                    <a:pt x="103893" y="62"/>
                    <a:pt x="103771" y="244"/>
                  </a:cubicBezTo>
                  <a:cubicBezTo>
                    <a:pt x="103680" y="427"/>
                    <a:pt x="103528" y="670"/>
                    <a:pt x="103315" y="974"/>
                  </a:cubicBezTo>
                  <a:lnTo>
                    <a:pt x="102586" y="2159"/>
                  </a:lnTo>
                  <a:lnTo>
                    <a:pt x="102100" y="2919"/>
                  </a:lnTo>
                  <a:lnTo>
                    <a:pt x="101522" y="3740"/>
                  </a:lnTo>
                  <a:cubicBezTo>
                    <a:pt x="101097" y="4348"/>
                    <a:pt x="100641" y="4986"/>
                    <a:pt x="100124" y="5685"/>
                  </a:cubicBezTo>
                  <a:lnTo>
                    <a:pt x="98331" y="7904"/>
                  </a:lnTo>
                  <a:cubicBezTo>
                    <a:pt x="97996" y="8269"/>
                    <a:pt x="97631" y="8664"/>
                    <a:pt x="97267" y="9059"/>
                  </a:cubicBezTo>
                  <a:cubicBezTo>
                    <a:pt x="96872" y="9454"/>
                    <a:pt x="96507" y="9910"/>
                    <a:pt x="96081" y="10275"/>
                  </a:cubicBezTo>
                  <a:cubicBezTo>
                    <a:pt x="95261" y="11065"/>
                    <a:pt x="94379" y="11946"/>
                    <a:pt x="93376" y="12737"/>
                  </a:cubicBezTo>
                  <a:cubicBezTo>
                    <a:pt x="91218" y="14530"/>
                    <a:pt x="88877" y="16080"/>
                    <a:pt x="86385" y="17326"/>
                  </a:cubicBezTo>
                  <a:cubicBezTo>
                    <a:pt x="84987" y="18026"/>
                    <a:pt x="83558" y="18633"/>
                    <a:pt x="82069" y="19150"/>
                  </a:cubicBezTo>
                  <a:cubicBezTo>
                    <a:pt x="81309" y="19424"/>
                    <a:pt x="80549" y="19667"/>
                    <a:pt x="79759" y="19940"/>
                  </a:cubicBezTo>
                  <a:cubicBezTo>
                    <a:pt x="78968" y="20214"/>
                    <a:pt x="78148" y="20396"/>
                    <a:pt x="77327" y="20579"/>
                  </a:cubicBezTo>
                  <a:cubicBezTo>
                    <a:pt x="70670" y="22038"/>
                    <a:pt x="63345" y="23527"/>
                    <a:pt x="55685" y="25138"/>
                  </a:cubicBezTo>
                  <a:lnTo>
                    <a:pt x="16293" y="33223"/>
                  </a:lnTo>
                  <a:lnTo>
                    <a:pt x="4377" y="35685"/>
                  </a:lnTo>
                  <a:lnTo>
                    <a:pt x="1125" y="36385"/>
                  </a:lnTo>
                  <a:lnTo>
                    <a:pt x="274" y="36567"/>
                  </a:lnTo>
                  <a:lnTo>
                    <a:pt x="1125" y="36415"/>
                  </a:lnTo>
                  <a:lnTo>
                    <a:pt x="4377" y="35777"/>
                  </a:lnTo>
                  <a:lnTo>
                    <a:pt x="16323" y="33345"/>
                  </a:lnTo>
                  <a:cubicBezTo>
                    <a:pt x="26414" y="31308"/>
                    <a:pt x="40336" y="28482"/>
                    <a:pt x="55716" y="25321"/>
                  </a:cubicBezTo>
                  <a:cubicBezTo>
                    <a:pt x="63406" y="23740"/>
                    <a:pt x="70731" y="22220"/>
                    <a:pt x="77357" y="20761"/>
                  </a:cubicBezTo>
                  <a:cubicBezTo>
                    <a:pt x="78178" y="20579"/>
                    <a:pt x="78999" y="20366"/>
                    <a:pt x="79820" y="20123"/>
                  </a:cubicBezTo>
                  <a:cubicBezTo>
                    <a:pt x="80579" y="19849"/>
                    <a:pt x="81370" y="19606"/>
                    <a:pt x="82130" y="19333"/>
                  </a:cubicBezTo>
                  <a:cubicBezTo>
                    <a:pt x="83619" y="18816"/>
                    <a:pt x="85048" y="18178"/>
                    <a:pt x="86446" y="17478"/>
                  </a:cubicBezTo>
                  <a:cubicBezTo>
                    <a:pt x="88969" y="16202"/>
                    <a:pt x="91309" y="14652"/>
                    <a:pt x="93467" y="12828"/>
                  </a:cubicBezTo>
                  <a:cubicBezTo>
                    <a:pt x="94470" y="12038"/>
                    <a:pt x="95352" y="11156"/>
                    <a:pt x="96172" y="10366"/>
                  </a:cubicBezTo>
                  <a:cubicBezTo>
                    <a:pt x="96598" y="9971"/>
                    <a:pt x="96963" y="9545"/>
                    <a:pt x="97327" y="9150"/>
                  </a:cubicBezTo>
                  <a:cubicBezTo>
                    <a:pt x="97692" y="8725"/>
                    <a:pt x="98057" y="8360"/>
                    <a:pt x="98391" y="7965"/>
                  </a:cubicBezTo>
                  <a:lnTo>
                    <a:pt x="100185" y="5746"/>
                  </a:lnTo>
                  <a:cubicBezTo>
                    <a:pt x="100701" y="5047"/>
                    <a:pt x="101157" y="4378"/>
                    <a:pt x="101552" y="3800"/>
                  </a:cubicBezTo>
                  <a:lnTo>
                    <a:pt x="102160" y="2949"/>
                  </a:lnTo>
                  <a:cubicBezTo>
                    <a:pt x="102312" y="2676"/>
                    <a:pt x="102464" y="2433"/>
                    <a:pt x="102616" y="2189"/>
                  </a:cubicBezTo>
                  <a:lnTo>
                    <a:pt x="103346" y="1004"/>
                  </a:lnTo>
                  <a:lnTo>
                    <a:pt x="103771" y="275"/>
                  </a:lnTo>
                  <a:cubicBezTo>
                    <a:pt x="103893" y="92"/>
                    <a:pt x="103923" y="1"/>
                    <a:pt x="103923" y="1"/>
                  </a:cubicBezTo>
                  <a:close/>
                  <a:moveTo>
                    <a:pt x="274" y="36567"/>
                  </a:moveTo>
                  <a:lnTo>
                    <a:pt x="274" y="36567"/>
                  </a:lnTo>
                  <a:cubicBezTo>
                    <a:pt x="92" y="36597"/>
                    <a:pt x="0" y="36628"/>
                    <a:pt x="0" y="36628"/>
                  </a:cubicBezTo>
                  <a:lnTo>
                    <a:pt x="274" y="36567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6" name="Google Shape;414;g191abe3b490_12_4485"/>
            <p:cNvSpPr/>
            <p:nvPr/>
          </p:nvSpPr>
          <p:spPr>
            <a:xfrm>
              <a:off x="5314950" y="2553525"/>
              <a:ext cx="237125" cy="932400"/>
            </a:xfrm>
            <a:custGeom>
              <a:avLst/>
              <a:ahLst/>
              <a:rect l="l" t="t" r="r" b="b"/>
              <a:pathLst>
                <a:path w="9485" h="37296" extrusionOk="0">
                  <a:moveTo>
                    <a:pt x="1186" y="0"/>
                  </a:moveTo>
                  <a:cubicBezTo>
                    <a:pt x="1186" y="0"/>
                    <a:pt x="1186" y="31"/>
                    <a:pt x="1156" y="91"/>
                  </a:cubicBezTo>
                  <a:cubicBezTo>
                    <a:pt x="1156" y="183"/>
                    <a:pt x="1125" y="274"/>
                    <a:pt x="1095" y="395"/>
                  </a:cubicBezTo>
                  <a:cubicBezTo>
                    <a:pt x="1034" y="669"/>
                    <a:pt x="943" y="1064"/>
                    <a:pt x="852" y="1520"/>
                  </a:cubicBezTo>
                  <a:cubicBezTo>
                    <a:pt x="791" y="1763"/>
                    <a:pt x="730" y="2037"/>
                    <a:pt x="669" y="2341"/>
                  </a:cubicBezTo>
                  <a:cubicBezTo>
                    <a:pt x="609" y="2645"/>
                    <a:pt x="578" y="2979"/>
                    <a:pt x="517" y="3313"/>
                  </a:cubicBezTo>
                  <a:cubicBezTo>
                    <a:pt x="426" y="4012"/>
                    <a:pt x="274" y="4833"/>
                    <a:pt x="213" y="5715"/>
                  </a:cubicBezTo>
                  <a:cubicBezTo>
                    <a:pt x="183" y="6171"/>
                    <a:pt x="153" y="6627"/>
                    <a:pt x="92" y="7113"/>
                  </a:cubicBezTo>
                  <a:cubicBezTo>
                    <a:pt x="61" y="7599"/>
                    <a:pt x="61" y="8116"/>
                    <a:pt x="61" y="8633"/>
                  </a:cubicBezTo>
                  <a:cubicBezTo>
                    <a:pt x="1" y="9696"/>
                    <a:pt x="31" y="10821"/>
                    <a:pt x="61" y="11976"/>
                  </a:cubicBezTo>
                  <a:cubicBezTo>
                    <a:pt x="335" y="17113"/>
                    <a:pt x="1460" y="22189"/>
                    <a:pt x="3405" y="26931"/>
                  </a:cubicBezTo>
                  <a:cubicBezTo>
                    <a:pt x="3891" y="28025"/>
                    <a:pt x="4317" y="29058"/>
                    <a:pt x="4803" y="29970"/>
                  </a:cubicBezTo>
                  <a:cubicBezTo>
                    <a:pt x="5046" y="30457"/>
                    <a:pt x="5259" y="30913"/>
                    <a:pt x="5502" y="31338"/>
                  </a:cubicBezTo>
                  <a:lnTo>
                    <a:pt x="6201" y="32554"/>
                  </a:lnTo>
                  <a:cubicBezTo>
                    <a:pt x="6627" y="33344"/>
                    <a:pt x="7113" y="33983"/>
                    <a:pt x="7478" y="34590"/>
                  </a:cubicBezTo>
                  <a:cubicBezTo>
                    <a:pt x="7691" y="34894"/>
                    <a:pt x="7873" y="35168"/>
                    <a:pt x="8056" y="35411"/>
                  </a:cubicBezTo>
                  <a:lnTo>
                    <a:pt x="8542" y="36080"/>
                  </a:lnTo>
                  <a:lnTo>
                    <a:pt x="9241" y="36992"/>
                  </a:lnTo>
                  <a:lnTo>
                    <a:pt x="9423" y="37235"/>
                  </a:lnTo>
                  <a:cubicBezTo>
                    <a:pt x="9454" y="37265"/>
                    <a:pt x="9484" y="37296"/>
                    <a:pt x="9484" y="37296"/>
                  </a:cubicBezTo>
                  <a:cubicBezTo>
                    <a:pt x="9484" y="37265"/>
                    <a:pt x="9454" y="37235"/>
                    <a:pt x="9423" y="37204"/>
                  </a:cubicBezTo>
                  <a:lnTo>
                    <a:pt x="9271" y="36961"/>
                  </a:lnTo>
                  <a:cubicBezTo>
                    <a:pt x="9119" y="36749"/>
                    <a:pt x="8876" y="36414"/>
                    <a:pt x="8603" y="36019"/>
                  </a:cubicBezTo>
                  <a:cubicBezTo>
                    <a:pt x="8451" y="35837"/>
                    <a:pt x="8268" y="35624"/>
                    <a:pt x="8116" y="35350"/>
                  </a:cubicBezTo>
                  <a:cubicBezTo>
                    <a:pt x="7964" y="35107"/>
                    <a:pt x="7782" y="34834"/>
                    <a:pt x="7569" y="34530"/>
                  </a:cubicBezTo>
                  <a:cubicBezTo>
                    <a:pt x="7204" y="33922"/>
                    <a:pt x="6749" y="33253"/>
                    <a:pt x="6323" y="32493"/>
                  </a:cubicBezTo>
                  <a:lnTo>
                    <a:pt x="5624" y="31277"/>
                  </a:lnTo>
                  <a:cubicBezTo>
                    <a:pt x="5411" y="30852"/>
                    <a:pt x="5198" y="30365"/>
                    <a:pt x="4955" y="29910"/>
                  </a:cubicBezTo>
                  <a:cubicBezTo>
                    <a:pt x="4469" y="28998"/>
                    <a:pt x="4043" y="27934"/>
                    <a:pt x="3587" y="26870"/>
                  </a:cubicBezTo>
                  <a:cubicBezTo>
                    <a:pt x="1642" y="22128"/>
                    <a:pt x="517" y="17083"/>
                    <a:pt x="274" y="11976"/>
                  </a:cubicBezTo>
                  <a:cubicBezTo>
                    <a:pt x="213" y="10791"/>
                    <a:pt x="183" y="9696"/>
                    <a:pt x="213" y="8633"/>
                  </a:cubicBezTo>
                  <a:cubicBezTo>
                    <a:pt x="244" y="8116"/>
                    <a:pt x="244" y="7599"/>
                    <a:pt x="274" y="7113"/>
                  </a:cubicBezTo>
                  <a:cubicBezTo>
                    <a:pt x="305" y="6627"/>
                    <a:pt x="335" y="6171"/>
                    <a:pt x="365" y="5715"/>
                  </a:cubicBezTo>
                  <a:cubicBezTo>
                    <a:pt x="426" y="4833"/>
                    <a:pt x="578" y="4043"/>
                    <a:pt x="639" y="3344"/>
                  </a:cubicBezTo>
                  <a:cubicBezTo>
                    <a:pt x="700" y="2979"/>
                    <a:pt x="730" y="2645"/>
                    <a:pt x="791" y="2341"/>
                  </a:cubicBezTo>
                  <a:cubicBezTo>
                    <a:pt x="852" y="2067"/>
                    <a:pt x="882" y="1794"/>
                    <a:pt x="943" y="1550"/>
                  </a:cubicBezTo>
                  <a:lnTo>
                    <a:pt x="1156" y="395"/>
                  </a:lnTo>
                  <a:cubicBezTo>
                    <a:pt x="1156" y="274"/>
                    <a:pt x="1186" y="183"/>
                    <a:pt x="1186" y="122"/>
                  </a:cubicBezTo>
                  <a:cubicBezTo>
                    <a:pt x="1186" y="61"/>
                    <a:pt x="1186" y="31"/>
                    <a:pt x="118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7" name="Google Shape;415;g191abe3b490_12_4485"/>
            <p:cNvSpPr/>
            <p:nvPr/>
          </p:nvSpPr>
          <p:spPr>
            <a:xfrm>
              <a:off x="4085450" y="2986750"/>
              <a:ext cx="1103375" cy="309200"/>
            </a:xfrm>
            <a:custGeom>
              <a:avLst/>
              <a:ahLst/>
              <a:rect l="l" t="t" r="r" b="b"/>
              <a:pathLst>
                <a:path w="44135" h="12368" extrusionOk="0">
                  <a:moveTo>
                    <a:pt x="41128" y="0"/>
                  </a:moveTo>
                  <a:cubicBezTo>
                    <a:pt x="40947" y="0"/>
                    <a:pt x="40763" y="19"/>
                    <a:pt x="40579" y="58"/>
                  </a:cubicBezTo>
                  <a:lnTo>
                    <a:pt x="183" y="8416"/>
                  </a:lnTo>
                  <a:cubicBezTo>
                    <a:pt x="183" y="8416"/>
                    <a:pt x="0" y="12337"/>
                    <a:pt x="1004" y="12368"/>
                  </a:cubicBezTo>
                  <a:cubicBezTo>
                    <a:pt x="1006" y="12368"/>
                    <a:pt x="1008" y="12368"/>
                    <a:pt x="1011" y="12368"/>
                  </a:cubicBezTo>
                  <a:cubicBezTo>
                    <a:pt x="1992" y="12368"/>
                    <a:pt x="31882" y="6983"/>
                    <a:pt x="41612" y="5225"/>
                  </a:cubicBezTo>
                  <a:cubicBezTo>
                    <a:pt x="43193" y="4951"/>
                    <a:pt x="44135" y="3279"/>
                    <a:pt x="43618" y="1760"/>
                  </a:cubicBezTo>
                  <a:cubicBezTo>
                    <a:pt x="43227" y="689"/>
                    <a:pt x="42230" y="0"/>
                    <a:pt x="41128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8" name="Google Shape;416;g191abe3b490_12_4485"/>
            <p:cNvSpPr/>
            <p:nvPr/>
          </p:nvSpPr>
          <p:spPr>
            <a:xfrm>
              <a:off x="5631825" y="2669775"/>
              <a:ext cx="483325" cy="449125"/>
            </a:xfrm>
            <a:custGeom>
              <a:avLst/>
              <a:ahLst/>
              <a:rect l="l" t="t" r="r" b="b"/>
              <a:pathLst>
                <a:path w="19333" h="17965" extrusionOk="0">
                  <a:moveTo>
                    <a:pt x="9667" y="1"/>
                  </a:moveTo>
                  <a:cubicBezTo>
                    <a:pt x="4347" y="1"/>
                    <a:pt x="1" y="4013"/>
                    <a:pt x="1" y="8967"/>
                  </a:cubicBezTo>
                  <a:cubicBezTo>
                    <a:pt x="1" y="13922"/>
                    <a:pt x="4317" y="17934"/>
                    <a:pt x="9636" y="17965"/>
                  </a:cubicBezTo>
                  <a:cubicBezTo>
                    <a:pt x="14986" y="17965"/>
                    <a:pt x="19302" y="13952"/>
                    <a:pt x="19302" y="8998"/>
                  </a:cubicBezTo>
                  <a:cubicBezTo>
                    <a:pt x="19332" y="4043"/>
                    <a:pt x="15016" y="1"/>
                    <a:pt x="966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39" name="Google Shape;417;g191abe3b490_12_4485"/>
            <p:cNvSpPr/>
            <p:nvPr/>
          </p:nvSpPr>
          <p:spPr>
            <a:xfrm>
              <a:off x="5613600" y="2668275"/>
              <a:ext cx="501550" cy="452150"/>
            </a:xfrm>
            <a:custGeom>
              <a:avLst/>
              <a:ahLst/>
              <a:rect l="l" t="t" r="r" b="b"/>
              <a:pathLst>
                <a:path w="20062" h="18086" extrusionOk="0">
                  <a:moveTo>
                    <a:pt x="20031" y="8450"/>
                  </a:moveTo>
                  <a:lnTo>
                    <a:pt x="20031" y="8906"/>
                  </a:lnTo>
                  <a:cubicBezTo>
                    <a:pt x="20031" y="8918"/>
                    <a:pt x="20036" y="8935"/>
                    <a:pt x="20042" y="8956"/>
                  </a:cubicBezTo>
                  <a:lnTo>
                    <a:pt x="20042" y="8956"/>
                  </a:lnTo>
                  <a:cubicBezTo>
                    <a:pt x="20045" y="8941"/>
                    <a:pt x="20052" y="8925"/>
                    <a:pt x="20061" y="8906"/>
                  </a:cubicBezTo>
                  <a:cubicBezTo>
                    <a:pt x="20061" y="8784"/>
                    <a:pt x="20031" y="8663"/>
                    <a:pt x="20031" y="8450"/>
                  </a:cubicBezTo>
                  <a:close/>
                  <a:moveTo>
                    <a:pt x="20042" y="8956"/>
                  </a:moveTo>
                  <a:cubicBezTo>
                    <a:pt x="20034" y="8989"/>
                    <a:pt x="20040" y="9016"/>
                    <a:pt x="20061" y="9058"/>
                  </a:cubicBezTo>
                  <a:cubicBezTo>
                    <a:pt x="20061" y="9022"/>
                    <a:pt x="20051" y="8985"/>
                    <a:pt x="20042" y="8956"/>
                  </a:cubicBezTo>
                  <a:close/>
                  <a:moveTo>
                    <a:pt x="10365" y="0"/>
                  </a:moveTo>
                  <a:lnTo>
                    <a:pt x="9757" y="30"/>
                  </a:lnTo>
                  <a:lnTo>
                    <a:pt x="9423" y="30"/>
                  </a:lnTo>
                  <a:lnTo>
                    <a:pt x="9119" y="91"/>
                  </a:lnTo>
                  <a:lnTo>
                    <a:pt x="8481" y="182"/>
                  </a:lnTo>
                  <a:lnTo>
                    <a:pt x="7842" y="304"/>
                  </a:lnTo>
                  <a:lnTo>
                    <a:pt x="7538" y="395"/>
                  </a:lnTo>
                  <a:lnTo>
                    <a:pt x="7234" y="486"/>
                  </a:lnTo>
                  <a:cubicBezTo>
                    <a:pt x="5441" y="1033"/>
                    <a:pt x="3860" y="2097"/>
                    <a:pt x="2675" y="3526"/>
                  </a:cubicBezTo>
                  <a:cubicBezTo>
                    <a:pt x="0" y="6717"/>
                    <a:pt x="0" y="11338"/>
                    <a:pt x="2675" y="14529"/>
                  </a:cubicBezTo>
                  <a:cubicBezTo>
                    <a:pt x="3860" y="15958"/>
                    <a:pt x="5411" y="17022"/>
                    <a:pt x="7204" y="17599"/>
                  </a:cubicBezTo>
                  <a:lnTo>
                    <a:pt x="7508" y="17690"/>
                  </a:lnTo>
                  <a:lnTo>
                    <a:pt x="7812" y="17751"/>
                  </a:lnTo>
                  <a:lnTo>
                    <a:pt x="8450" y="17903"/>
                  </a:lnTo>
                  <a:lnTo>
                    <a:pt x="9089" y="17994"/>
                  </a:lnTo>
                  <a:lnTo>
                    <a:pt x="9392" y="18055"/>
                  </a:lnTo>
                  <a:lnTo>
                    <a:pt x="9727" y="18055"/>
                  </a:lnTo>
                  <a:lnTo>
                    <a:pt x="10335" y="18085"/>
                  </a:lnTo>
                  <a:cubicBezTo>
                    <a:pt x="10548" y="18085"/>
                    <a:pt x="10760" y="18055"/>
                    <a:pt x="10943" y="18055"/>
                  </a:cubicBezTo>
                  <a:cubicBezTo>
                    <a:pt x="11338" y="18025"/>
                    <a:pt x="11763" y="17994"/>
                    <a:pt x="12128" y="17933"/>
                  </a:cubicBezTo>
                  <a:cubicBezTo>
                    <a:pt x="13587" y="17690"/>
                    <a:pt x="14955" y="17143"/>
                    <a:pt x="16171" y="16322"/>
                  </a:cubicBezTo>
                  <a:cubicBezTo>
                    <a:pt x="17143" y="15623"/>
                    <a:pt x="17994" y="14772"/>
                    <a:pt x="18663" y="13769"/>
                  </a:cubicBezTo>
                  <a:cubicBezTo>
                    <a:pt x="18937" y="13374"/>
                    <a:pt x="19180" y="12918"/>
                    <a:pt x="19393" y="12493"/>
                  </a:cubicBezTo>
                  <a:cubicBezTo>
                    <a:pt x="19545" y="12097"/>
                    <a:pt x="19666" y="11702"/>
                    <a:pt x="19788" y="11307"/>
                  </a:cubicBezTo>
                  <a:cubicBezTo>
                    <a:pt x="19849" y="11125"/>
                    <a:pt x="19909" y="10973"/>
                    <a:pt x="19909" y="10821"/>
                  </a:cubicBezTo>
                  <a:cubicBezTo>
                    <a:pt x="19940" y="10638"/>
                    <a:pt x="19970" y="10486"/>
                    <a:pt x="20001" y="10365"/>
                  </a:cubicBezTo>
                  <a:cubicBezTo>
                    <a:pt x="20001" y="10213"/>
                    <a:pt x="20061" y="10091"/>
                    <a:pt x="20061" y="9970"/>
                  </a:cubicBezTo>
                  <a:lnTo>
                    <a:pt x="20061" y="9635"/>
                  </a:lnTo>
                  <a:lnTo>
                    <a:pt x="20061" y="9210"/>
                  </a:lnTo>
                  <a:cubicBezTo>
                    <a:pt x="20061" y="9149"/>
                    <a:pt x="20061" y="9088"/>
                    <a:pt x="20061" y="9058"/>
                  </a:cubicBezTo>
                  <a:cubicBezTo>
                    <a:pt x="20031" y="9088"/>
                    <a:pt x="20031" y="9149"/>
                    <a:pt x="20031" y="9179"/>
                  </a:cubicBezTo>
                  <a:cubicBezTo>
                    <a:pt x="20031" y="9301"/>
                    <a:pt x="20001" y="9453"/>
                    <a:pt x="20001" y="9635"/>
                  </a:cubicBezTo>
                  <a:cubicBezTo>
                    <a:pt x="19970" y="9727"/>
                    <a:pt x="20001" y="9848"/>
                    <a:pt x="19970" y="9970"/>
                  </a:cubicBezTo>
                  <a:cubicBezTo>
                    <a:pt x="19970" y="10091"/>
                    <a:pt x="19940" y="10213"/>
                    <a:pt x="19909" y="10335"/>
                  </a:cubicBezTo>
                  <a:cubicBezTo>
                    <a:pt x="19879" y="10486"/>
                    <a:pt x="19849" y="10638"/>
                    <a:pt x="19818" y="10790"/>
                  </a:cubicBezTo>
                  <a:cubicBezTo>
                    <a:pt x="19788" y="10942"/>
                    <a:pt x="19727" y="11125"/>
                    <a:pt x="19697" y="11307"/>
                  </a:cubicBezTo>
                  <a:cubicBezTo>
                    <a:pt x="19119" y="13313"/>
                    <a:pt x="17812" y="15076"/>
                    <a:pt x="16049" y="16201"/>
                  </a:cubicBezTo>
                  <a:cubicBezTo>
                    <a:pt x="14864" y="17022"/>
                    <a:pt x="13526" y="17538"/>
                    <a:pt x="12128" y="17781"/>
                  </a:cubicBezTo>
                  <a:cubicBezTo>
                    <a:pt x="11733" y="17842"/>
                    <a:pt x="11338" y="17873"/>
                    <a:pt x="10943" y="17903"/>
                  </a:cubicBezTo>
                  <a:lnTo>
                    <a:pt x="10365" y="17903"/>
                  </a:lnTo>
                  <a:lnTo>
                    <a:pt x="9727" y="17873"/>
                  </a:lnTo>
                  <a:lnTo>
                    <a:pt x="9423" y="17873"/>
                  </a:lnTo>
                  <a:lnTo>
                    <a:pt x="9119" y="17842"/>
                  </a:lnTo>
                  <a:lnTo>
                    <a:pt x="8511" y="17751"/>
                  </a:lnTo>
                  <a:lnTo>
                    <a:pt x="7873" y="17599"/>
                  </a:lnTo>
                  <a:lnTo>
                    <a:pt x="7569" y="17508"/>
                  </a:lnTo>
                  <a:lnTo>
                    <a:pt x="7265" y="17417"/>
                  </a:lnTo>
                  <a:cubicBezTo>
                    <a:pt x="5502" y="16870"/>
                    <a:pt x="3982" y="15806"/>
                    <a:pt x="2827" y="14408"/>
                  </a:cubicBezTo>
                  <a:cubicBezTo>
                    <a:pt x="213" y="11307"/>
                    <a:pt x="213" y="6778"/>
                    <a:pt x="2827" y="3678"/>
                  </a:cubicBezTo>
                  <a:cubicBezTo>
                    <a:pt x="3982" y="2249"/>
                    <a:pt x="5532" y="1216"/>
                    <a:pt x="7265" y="669"/>
                  </a:cubicBezTo>
                  <a:lnTo>
                    <a:pt x="7569" y="547"/>
                  </a:lnTo>
                  <a:lnTo>
                    <a:pt x="7873" y="486"/>
                  </a:lnTo>
                  <a:lnTo>
                    <a:pt x="8511" y="334"/>
                  </a:lnTo>
                  <a:lnTo>
                    <a:pt x="9119" y="243"/>
                  </a:lnTo>
                  <a:lnTo>
                    <a:pt x="9453" y="213"/>
                  </a:lnTo>
                  <a:lnTo>
                    <a:pt x="9757" y="213"/>
                  </a:lnTo>
                  <a:lnTo>
                    <a:pt x="10365" y="182"/>
                  </a:lnTo>
                  <a:lnTo>
                    <a:pt x="10973" y="182"/>
                  </a:lnTo>
                  <a:cubicBezTo>
                    <a:pt x="11368" y="213"/>
                    <a:pt x="11733" y="243"/>
                    <a:pt x="12128" y="304"/>
                  </a:cubicBezTo>
                  <a:cubicBezTo>
                    <a:pt x="13557" y="547"/>
                    <a:pt x="14894" y="1094"/>
                    <a:pt x="16080" y="1885"/>
                  </a:cubicBezTo>
                  <a:cubicBezTo>
                    <a:pt x="17478" y="2827"/>
                    <a:pt x="18602" y="4134"/>
                    <a:pt x="19301" y="5654"/>
                  </a:cubicBezTo>
                  <a:cubicBezTo>
                    <a:pt x="19453" y="6018"/>
                    <a:pt x="19605" y="6413"/>
                    <a:pt x="19697" y="6809"/>
                  </a:cubicBezTo>
                  <a:cubicBezTo>
                    <a:pt x="19757" y="6991"/>
                    <a:pt x="19818" y="7143"/>
                    <a:pt x="19849" y="7295"/>
                  </a:cubicBezTo>
                  <a:cubicBezTo>
                    <a:pt x="19879" y="7477"/>
                    <a:pt x="19909" y="7629"/>
                    <a:pt x="19940" y="7751"/>
                  </a:cubicBezTo>
                  <a:cubicBezTo>
                    <a:pt x="19940" y="7872"/>
                    <a:pt x="19970" y="8024"/>
                    <a:pt x="20001" y="8146"/>
                  </a:cubicBezTo>
                  <a:cubicBezTo>
                    <a:pt x="20031" y="8268"/>
                    <a:pt x="20031" y="8359"/>
                    <a:pt x="20031" y="8450"/>
                  </a:cubicBezTo>
                  <a:cubicBezTo>
                    <a:pt x="20031" y="8359"/>
                    <a:pt x="20031" y="8237"/>
                    <a:pt x="20031" y="8116"/>
                  </a:cubicBezTo>
                  <a:cubicBezTo>
                    <a:pt x="20001" y="8024"/>
                    <a:pt x="19970" y="7872"/>
                    <a:pt x="19970" y="7751"/>
                  </a:cubicBezTo>
                  <a:cubicBezTo>
                    <a:pt x="19940" y="7599"/>
                    <a:pt x="19940" y="7447"/>
                    <a:pt x="19909" y="7295"/>
                  </a:cubicBezTo>
                  <a:cubicBezTo>
                    <a:pt x="19849" y="7113"/>
                    <a:pt x="19818" y="6961"/>
                    <a:pt x="19757" y="6778"/>
                  </a:cubicBezTo>
                  <a:cubicBezTo>
                    <a:pt x="19545" y="5897"/>
                    <a:pt x="19180" y="5076"/>
                    <a:pt x="18663" y="4316"/>
                  </a:cubicBezTo>
                  <a:cubicBezTo>
                    <a:pt x="17994" y="3313"/>
                    <a:pt x="17143" y="2432"/>
                    <a:pt x="16140" y="1763"/>
                  </a:cubicBezTo>
                  <a:cubicBezTo>
                    <a:pt x="14955" y="942"/>
                    <a:pt x="13587" y="395"/>
                    <a:pt x="12158" y="152"/>
                  </a:cubicBezTo>
                  <a:cubicBezTo>
                    <a:pt x="11794" y="91"/>
                    <a:pt x="11368" y="61"/>
                    <a:pt x="10973" y="30"/>
                  </a:cubicBezTo>
                  <a:cubicBezTo>
                    <a:pt x="10791" y="30"/>
                    <a:pt x="10578" y="0"/>
                    <a:pt x="1036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0" name="Google Shape;418;g191abe3b490_12_4485"/>
            <p:cNvSpPr/>
            <p:nvPr/>
          </p:nvSpPr>
          <p:spPr>
            <a:xfrm>
              <a:off x="2279175" y="3340825"/>
              <a:ext cx="780450" cy="411175"/>
            </a:xfrm>
            <a:custGeom>
              <a:avLst/>
              <a:ahLst/>
              <a:rect l="l" t="t" r="r" b="b"/>
              <a:pathLst>
                <a:path w="31218" h="16447" extrusionOk="0">
                  <a:moveTo>
                    <a:pt x="6534" y="0"/>
                  </a:moveTo>
                  <a:cubicBezTo>
                    <a:pt x="4337" y="0"/>
                    <a:pt x="2192" y="871"/>
                    <a:pt x="1065" y="2916"/>
                  </a:cubicBezTo>
                  <a:cubicBezTo>
                    <a:pt x="1" y="4831"/>
                    <a:pt x="214" y="7202"/>
                    <a:pt x="1612" y="8904"/>
                  </a:cubicBezTo>
                  <a:cubicBezTo>
                    <a:pt x="3861" y="11700"/>
                    <a:pt x="7630" y="10728"/>
                    <a:pt x="10457" y="12248"/>
                  </a:cubicBezTo>
                  <a:cubicBezTo>
                    <a:pt x="12767" y="13494"/>
                    <a:pt x="14317" y="16290"/>
                    <a:pt x="16962" y="16442"/>
                  </a:cubicBezTo>
                  <a:cubicBezTo>
                    <a:pt x="17022" y="16445"/>
                    <a:pt x="17082" y="16446"/>
                    <a:pt x="17142" y="16446"/>
                  </a:cubicBezTo>
                  <a:cubicBezTo>
                    <a:pt x="18950" y="16446"/>
                    <a:pt x="20517" y="15153"/>
                    <a:pt x="22311" y="14770"/>
                  </a:cubicBezTo>
                  <a:cubicBezTo>
                    <a:pt x="22709" y="14691"/>
                    <a:pt x="23107" y="14660"/>
                    <a:pt x="23506" y="14660"/>
                  </a:cubicBezTo>
                  <a:cubicBezTo>
                    <a:pt x="24323" y="14660"/>
                    <a:pt x="25141" y="14790"/>
                    <a:pt x="25959" y="14892"/>
                  </a:cubicBezTo>
                  <a:cubicBezTo>
                    <a:pt x="26433" y="14939"/>
                    <a:pt x="26917" y="14978"/>
                    <a:pt x="27398" y="14978"/>
                  </a:cubicBezTo>
                  <a:cubicBezTo>
                    <a:pt x="28148" y="14978"/>
                    <a:pt x="28890" y="14884"/>
                    <a:pt x="29576" y="14588"/>
                  </a:cubicBezTo>
                  <a:cubicBezTo>
                    <a:pt x="30457" y="14193"/>
                    <a:pt x="31096" y="13646"/>
                    <a:pt x="31187" y="12703"/>
                  </a:cubicBezTo>
                  <a:cubicBezTo>
                    <a:pt x="31217" y="12339"/>
                    <a:pt x="31126" y="11944"/>
                    <a:pt x="30974" y="11609"/>
                  </a:cubicBezTo>
                  <a:cubicBezTo>
                    <a:pt x="30822" y="11244"/>
                    <a:pt x="30579" y="10941"/>
                    <a:pt x="30275" y="10697"/>
                  </a:cubicBezTo>
                  <a:cubicBezTo>
                    <a:pt x="29308" y="9939"/>
                    <a:pt x="28138" y="9541"/>
                    <a:pt x="26921" y="9541"/>
                  </a:cubicBezTo>
                  <a:cubicBezTo>
                    <a:pt x="26723" y="9541"/>
                    <a:pt x="26524" y="9551"/>
                    <a:pt x="26324" y="9573"/>
                  </a:cubicBezTo>
                  <a:cubicBezTo>
                    <a:pt x="25956" y="9610"/>
                    <a:pt x="25589" y="9629"/>
                    <a:pt x="25223" y="9629"/>
                  </a:cubicBezTo>
                  <a:cubicBezTo>
                    <a:pt x="22628" y="9629"/>
                    <a:pt x="20119" y="8694"/>
                    <a:pt x="18147" y="6989"/>
                  </a:cubicBezTo>
                  <a:cubicBezTo>
                    <a:pt x="17448" y="6381"/>
                    <a:pt x="16779" y="5743"/>
                    <a:pt x="16080" y="5135"/>
                  </a:cubicBezTo>
                  <a:cubicBezTo>
                    <a:pt x="14104" y="3281"/>
                    <a:pt x="12007" y="1427"/>
                    <a:pt x="9484" y="515"/>
                  </a:cubicBezTo>
                  <a:cubicBezTo>
                    <a:pt x="8551" y="182"/>
                    <a:pt x="7537" y="0"/>
                    <a:pt x="653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1" name="Google Shape;419;g191abe3b490_12_4485"/>
            <p:cNvSpPr/>
            <p:nvPr/>
          </p:nvSpPr>
          <p:spPr>
            <a:xfrm>
              <a:off x="2279175" y="3340825"/>
              <a:ext cx="780450" cy="411175"/>
            </a:xfrm>
            <a:custGeom>
              <a:avLst/>
              <a:ahLst/>
              <a:rect l="l" t="t" r="r" b="b"/>
              <a:pathLst>
                <a:path w="31218" h="16447" extrusionOk="0">
                  <a:moveTo>
                    <a:pt x="6534" y="0"/>
                  </a:moveTo>
                  <a:cubicBezTo>
                    <a:pt x="4337" y="0"/>
                    <a:pt x="2192" y="871"/>
                    <a:pt x="1065" y="2916"/>
                  </a:cubicBezTo>
                  <a:cubicBezTo>
                    <a:pt x="1" y="4831"/>
                    <a:pt x="214" y="7202"/>
                    <a:pt x="1612" y="8904"/>
                  </a:cubicBezTo>
                  <a:cubicBezTo>
                    <a:pt x="3861" y="11700"/>
                    <a:pt x="7630" y="10728"/>
                    <a:pt x="10457" y="12248"/>
                  </a:cubicBezTo>
                  <a:cubicBezTo>
                    <a:pt x="12767" y="13494"/>
                    <a:pt x="14317" y="16290"/>
                    <a:pt x="16962" y="16442"/>
                  </a:cubicBezTo>
                  <a:cubicBezTo>
                    <a:pt x="17022" y="16445"/>
                    <a:pt x="17082" y="16446"/>
                    <a:pt x="17142" y="16446"/>
                  </a:cubicBezTo>
                  <a:cubicBezTo>
                    <a:pt x="18950" y="16446"/>
                    <a:pt x="20517" y="15153"/>
                    <a:pt x="22311" y="14770"/>
                  </a:cubicBezTo>
                  <a:cubicBezTo>
                    <a:pt x="22709" y="14691"/>
                    <a:pt x="23107" y="14660"/>
                    <a:pt x="23506" y="14660"/>
                  </a:cubicBezTo>
                  <a:cubicBezTo>
                    <a:pt x="24323" y="14660"/>
                    <a:pt x="25141" y="14790"/>
                    <a:pt x="25959" y="14892"/>
                  </a:cubicBezTo>
                  <a:cubicBezTo>
                    <a:pt x="26433" y="14939"/>
                    <a:pt x="26917" y="14978"/>
                    <a:pt x="27398" y="14978"/>
                  </a:cubicBezTo>
                  <a:cubicBezTo>
                    <a:pt x="28148" y="14978"/>
                    <a:pt x="28890" y="14884"/>
                    <a:pt x="29576" y="14588"/>
                  </a:cubicBezTo>
                  <a:cubicBezTo>
                    <a:pt x="30457" y="14193"/>
                    <a:pt x="31096" y="13646"/>
                    <a:pt x="31187" y="12703"/>
                  </a:cubicBezTo>
                  <a:cubicBezTo>
                    <a:pt x="31217" y="12339"/>
                    <a:pt x="31126" y="11944"/>
                    <a:pt x="30974" y="11609"/>
                  </a:cubicBezTo>
                  <a:cubicBezTo>
                    <a:pt x="30822" y="11244"/>
                    <a:pt x="30579" y="10941"/>
                    <a:pt x="30275" y="10697"/>
                  </a:cubicBezTo>
                  <a:cubicBezTo>
                    <a:pt x="29308" y="9939"/>
                    <a:pt x="28138" y="9541"/>
                    <a:pt x="26921" y="9541"/>
                  </a:cubicBezTo>
                  <a:cubicBezTo>
                    <a:pt x="26723" y="9541"/>
                    <a:pt x="26524" y="9551"/>
                    <a:pt x="26324" y="9573"/>
                  </a:cubicBezTo>
                  <a:cubicBezTo>
                    <a:pt x="25956" y="9610"/>
                    <a:pt x="25589" y="9629"/>
                    <a:pt x="25223" y="9629"/>
                  </a:cubicBezTo>
                  <a:cubicBezTo>
                    <a:pt x="22628" y="9629"/>
                    <a:pt x="20119" y="8694"/>
                    <a:pt x="18147" y="6989"/>
                  </a:cubicBezTo>
                  <a:cubicBezTo>
                    <a:pt x="17448" y="6381"/>
                    <a:pt x="16779" y="5743"/>
                    <a:pt x="16080" y="5135"/>
                  </a:cubicBezTo>
                  <a:cubicBezTo>
                    <a:pt x="14104" y="3281"/>
                    <a:pt x="12007" y="1427"/>
                    <a:pt x="9484" y="515"/>
                  </a:cubicBezTo>
                  <a:cubicBezTo>
                    <a:pt x="8551" y="182"/>
                    <a:pt x="7537" y="0"/>
                    <a:pt x="653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2" name="Google Shape;420;g191abe3b490_12_4485"/>
            <p:cNvSpPr/>
            <p:nvPr/>
          </p:nvSpPr>
          <p:spPr>
            <a:xfrm>
              <a:off x="1446350" y="3646125"/>
              <a:ext cx="547900" cy="360325"/>
            </a:xfrm>
            <a:custGeom>
              <a:avLst/>
              <a:ahLst/>
              <a:rect l="l" t="t" r="r" b="b"/>
              <a:pathLst>
                <a:path w="21916" h="14413" extrusionOk="0">
                  <a:moveTo>
                    <a:pt x="17442" y="1"/>
                  </a:moveTo>
                  <a:cubicBezTo>
                    <a:pt x="16743" y="1"/>
                    <a:pt x="16031" y="157"/>
                    <a:pt x="15472" y="431"/>
                  </a:cubicBezTo>
                  <a:cubicBezTo>
                    <a:pt x="14104" y="1099"/>
                    <a:pt x="13162" y="2376"/>
                    <a:pt x="12250" y="3561"/>
                  </a:cubicBezTo>
                  <a:cubicBezTo>
                    <a:pt x="11307" y="4777"/>
                    <a:pt x="10274" y="5993"/>
                    <a:pt x="8815" y="6510"/>
                  </a:cubicBezTo>
                  <a:cubicBezTo>
                    <a:pt x="8221" y="6708"/>
                    <a:pt x="7609" y="6767"/>
                    <a:pt x="6988" y="6767"/>
                  </a:cubicBezTo>
                  <a:cubicBezTo>
                    <a:pt x="6046" y="6767"/>
                    <a:pt x="5081" y="6630"/>
                    <a:pt x="4125" y="6630"/>
                  </a:cubicBezTo>
                  <a:cubicBezTo>
                    <a:pt x="4067" y="6630"/>
                    <a:pt x="4009" y="6630"/>
                    <a:pt x="3952" y="6631"/>
                  </a:cubicBezTo>
                  <a:cubicBezTo>
                    <a:pt x="2310" y="6631"/>
                    <a:pt x="395" y="7422"/>
                    <a:pt x="152" y="9033"/>
                  </a:cubicBezTo>
                  <a:cubicBezTo>
                    <a:pt x="0" y="9975"/>
                    <a:pt x="304" y="10917"/>
                    <a:pt x="973" y="11616"/>
                  </a:cubicBezTo>
                  <a:cubicBezTo>
                    <a:pt x="1611" y="12224"/>
                    <a:pt x="2371" y="12741"/>
                    <a:pt x="3222" y="13075"/>
                  </a:cubicBezTo>
                  <a:cubicBezTo>
                    <a:pt x="5380" y="13957"/>
                    <a:pt x="7721" y="14413"/>
                    <a:pt x="10061" y="14413"/>
                  </a:cubicBezTo>
                  <a:cubicBezTo>
                    <a:pt x="13101" y="14352"/>
                    <a:pt x="15958" y="12893"/>
                    <a:pt x="17782" y="10461"/>
                  </a:cubicBezTo>
                  <a:cubicBezTo>
                    <a:pt x="19545" y="8030"/>
                    <a:pt x="21915" y="3805"/>
                    <a:pt x="19849" y="1099"/>
                  </a:cubicBezTo>
                  <a:lnTo>
                    <a:pt x="19879" y="1099"/>
                  </a:lnTo>
                  <a:cubicBezTo>
                    <a:pt x="19430" y="327"/>
                    <a:pt x="18450" y="1"/>
                    <a:pt x="1744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3" name="Google Shape;421;g191abe3b490_12_4485"/>
            <p:cNvSpPr/>
            <p:nvPr/>
          </p:nvSpPr>
          <p:spPr>
            <a:xfrm>
              <a:off x="1446350" y="3646125"/>
              <a:ext cx="547900" cy="360325"/>
            </a:xfrm>
            <a:custGeom>
              <a:avLst/>
              <a:ahLst/>
              <a:rect l="l" t="t" r="r" b="b"/>
              <a:pathLst>
                <a:path w="21916" h="14413" extrusionOk="0">
                  <a:moveTo>
                    <a:pt x="17442" y="1"/>
                  </a:moveTo>
                  <a:cubicBezTo>
                    <a:pt x="16743" y="1"/>
                    <a:pt x="16031" y="157"/>
                    <a:pt x="15472" y="431"/>
                  </a:cubicBezTo>
                  <a:cubicBezTo>
                    <a:pt x="14104" y="1099"/>
                    <a:pt x="13162" y="2376"/>
                    <a:pt x="12250" y="3561"/>
                  </a:cubicBezTo>
                  <a:cubicBezTo>
                    <a:pt x="11307" y="4777"/>
                    <a:pt x="10274" y="5993"/>
                    <a:pt x="8815" y="6510"/>
                  </a:cubicBezTo>
                  <a:cubicBezTo>
                    <a:pt x="8221" y="6708"/>
                    <a:pt x="7609" y="6767"/>
                    <a:pt x="6988" y="6767"/>
                  </a:cubicBezTo>
                  <a:cubicBezTo>
                    <a:pt x="6046" y="6767"/>
                    <a:pt x="5081" y="6630"/>
                    <a:pt x="4125" y="6630"/>
                  </a:cubicBezTo>
                  <a:cubicBezTo>
                    <a:pt x="4067" y="6630"/>
                    <a:pt x="4009" y="6630"/>
                    <a:pt x="3952" y="6631"/>
                  </a:cubicBezTo>
                  <a:cubicBezTo>
                    <a:pt x="2310" y="6631"/>
                    <a:pt x="395" y="7422"/>
                    <a:pt x="152" y="9033"/>
                  </a:cubicBezTo>
                  <a:cubicBezTo>
                    <a:pt x="0" y="9975"/>
                    <a:pt x="304" y="10917"/>
                    <a:pt x="973" y="11616"/>
                  </a:cubicBezTo>
                  <a:cubicBezTo>
                    <a:pt x="1611" y="12224"/>
                    <a:pt x="2371" y="12741"/>
                    <a:pt x="3222" y="13075"/>
                  </a:cubicBezTo>
                  <a:cubicBezTo>
                    <a:pt x="5380" y="13957"/>
                    <a:pt x="7721" y="14413"/>
                    <a:pt x="10061" y="14413"/>
                  </a:cubicBezTo>
                  <a:cubicBezTo>
                    <a:pt x="13101" y="14352"/>
                    <a:pt x="15958" y="12893"/>
                    <a:pt x="17782" y="10461"/>
                  </a:cubicBezTo>
                  <a:cubicBezTo>
                    <a:pt x="19545" y="8030"/>
                    <a:pt x="21915" y="3805"/>
                    <a:pt x="19849" y="1099"/>
                  </a:cubicBezTo>
                  <a:lnTo>
                    <a:pt x="19879" y="1099"/>
                  </a:lnTo>
                  <a:cubicBezTo>
                    <a:pt x="19430" y="327"/>
                    <a:pt x="18450" y="1"/>
                    <a:pt x="1744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4" name="Google Shape;422;g191abe3b490_12_4485"/>
            <p:cNvSpPr/>
            <p:nvPr/>
          </p:nvSpPr>
          <p:spPr>
            <a:xfrm>
              <a:off x="847550" y="3864550"/>
              <a:ext cx="160300" cy="108125"/>
            </a:xfrm>
            <a:custGeom>
              <a:avLst/>
              <a:ahLst/>
              <a:rect l="l" t="t" r="r" b="b"/>
              <a:pathLst>
                <a:path w="6412" h="4325" extrusionOk="0">
                  <a:moveTo>
                    <a:pt x="3237" y="0"/>
                  </a:moveTo>
                  <a:cubicBezTo>
                    <a:pt x="2968" y="0"/>
                    <a:pt x="2697" y="37"/>
                    <a:pt x="2432" y="113"/>
                  </a:cubicBezTo>
                  <a:cubicBezTo>
                    <a:pt x="1733" y="356"/>
                    <a:pt x="1125" y="782"/>
                    <a:pt x="639" y="1329"/>
                  </a:cubicBezTo>
                  <a:cubicBezTo>
                    <a:pt x="152" y="1876"/>
                    <a:pt x="0" y="2636"/>
                    <a:pt x="183" y="3335"/>
                  </a:cubicBezTo>
                  <a:cubicBezTo>
                    <a:pt x="386" y="3919"/>
                    <a:pt x="950" y="4291"/>
                    <a:pt x="1556" y="4291"/>
                  </a:cubicBezTo>
                  <a:cubicBezTo>
                    <a:pt x="1675" y="4291"/>
                    <a:pt x="1795" y="4277"/>
                    <a:pt x="1915" y="4247"/>
                  </a:cubicBezTo>
                  <a:cubicBezTo>
                    <a:pt x="2280" y="4125"/>
                    <a:pt x="2554" y="3852"/>
                    <a:pt x="2949" y="3791"/>
                  </a:cubicBezTo>
                  <a:cubicBezTo>
                    <a:pt x="3012" y="3778"/>
                    <a:pt x="3074" y="3773"/>
                    <a:pt x="3136" y="3773"/>
                  </a:cubicBezTo>
                  <a:cubicBezTo>
                    <a:pt x="3665" y="3773"/>
                    <a:pt x="4137" y="4199"/>
                    <a:pt x="4681" y="4308"/>
                  </a:cubicBezTo>
                  <a:cubicBezTo>
                    <a:pt x="4747" y="4319"/>
                    <a:pt x="4812" y="4325"/>
                    <a:pt x="4877" y="4325"/>
                  </a:cubicBezTo>
                  <a:cubicBezTo>
                    <a:pt x="5684" y="4325"/>
                    <a:pt x="6412" y="3482"/>
                    <a:pt x="6383" y="2666"/>
                  </a:cubicBezTo>
                  <a:cubicBezTo>
                    <a:pt x="6383" y="1755"/>
                    <a:pt x="5624" y="1055"/>
                    <a:pt x="4924" y="539"/>
                  </a:cubicBezTo>
                  <a:cubicBezTo>
                    <a:pt x="4422" y="183"/>
                    <a:pt x="3833" y="0"/>
                    <a:pt x="323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5" name="Google Shape;423;g191abe3b490_12_4485"/>
            <p:cNvSpPr/>
            <p:nvPr/>
          </p:nvSpPr>
          <p:spPr>
            <a:xfrm>
              <a:off x="847550" y="3864550"/>
              <a:ext cx="160300" cy="108125"/>
            </a:xfrm>
            <a:custGeom>
              <a:avLst/>
              <a:ahLst/>
              <a:rect l="l" t="t" r="r" b="b"/>
              <a:pathLst>
                <a:path w="6412" h="4325" extrusionOk="0">
                  <a:moveTo>
                    <a:pt x="3237" y="0"/>
                  </a:moveTo>
                  <a:cubicBezTo>
                    <a:pt x="2968" y="0"/>
                    <a:pt x="2697" y="37"/>
                    <a:pt x="2432" y="113"/>
                  </a:cubicBezTo>
                  <a:cubicBezTo>
                    <a:pt x="1733" y="356"/>
                    <a:pt x="1125" y="782"/>
                    <a:pt x="639" y="1329"/>
                  </a:cubicBezTo>
                  <a:cubicBezTo>
                    <a:pt x="152" y="1876"/>
                    <a:pt x="0" y="2636"/>
                    <a:pt x="183" y="3335"/>
                  </a:cubicBezTo>
                  <a:cubicBezTo>
                    <a:pt x="386" y="3919"/>
                    <a:pt x="950" y="4291"/>
                    <a:pt x="1556" y="4291"/>
                  </a:cubicBezTo>
                  <a:cubicBezTo>
                    <a:pt x="1675" y="4291"/>
                    <a:pt x="1795" y="4277"/>
                    <a:pt x="1915" y="4247"/>
                  </a:cubicBezTo>
                  <a:cubicBezTo>
                    <a:pt x="2280" y="4125"/>
                    <a:pt x="2554" y="3852"/>
                    <a:pt x="2949" y="3791"/>
                  </a:cubicBezTo>
                  <a:cubicBezTo>
                    <a:pt x="3012" y="3778"/>
                    <a:pt x="3074" y="3773"/>
                    <a:pt x="3136" y="3773"/>
                  </a:cubicBezTo>
                  <a:cubicBezTo>
                    <a:pt x="3665" y="3773"/>
                    <a:pt x="4137" y="4199"/>
                    <a:pt x="4681" y="4308"/>
                  </a:cubicBezTo>
                  <a:cubicBezTo>
                    <a:pt x="4747" y="4319"/>
                    <a:pt x="4812" y="4325"/>
                    <a:pt x="4877" y="4325"/>
                  </a:cubicBezTo>
                  <a:cubicBezTo>
                    <a:pt x="5684" y="4325"/>
                    <a:pt x="6412" y="3482"/>
                    <a:pt x="6383" y="2666"/>
                  </a:cubicBezTo>
                  <a:cubicBezTo>
                    <a:pt x="6383" y="1755"/>
                    <a:pt x="5624" y="1055"/>
                    <a:pt x="4924" y="539"/>
                  </a:cubicBezTo>
                  <a:cubicBezTo>
                    <a:pt x="4422" y="183"/>
                    <a:pt x="3833" y="0"/>
                    <a:pt x="323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6" name="Google Shape;424;g191abe3b490_12_4485"/>
            <p:cNvSpPr/>
            <p:nvPr/>
          </p:nvSpPr>
          <p:spPr>
            <a:xfrm>
              <a:off x="4295950" y="2225800"/>
              <a:ext cx="829825" cy="450450"/>
            </a:xfrm>
            <a:custGeom>
              <a:avLst/>
              <a:ahLst/>
              <a:rect l="l" t="t" r="r" b="b"/>
              <a:pathLst>
                <a:path w="33193" h="18018" extrusionOk="0">
                  <a:moveTo>
                    <a:pt x="6888" y="1"/>
                  </a:moveTo>
                  <a:cubicBezTo>
                    <a:pt x="4444" y="1"/>
                    <a:pt x="1998" y="778"/>
                    <a:pt x="91" y="2319"/>
                  </a:cubicBezTo>
                  <a:cubicBezTo>
                    <a:pt x="0" y="4416"/>
                    <a:pt x="1793" y="6027"/>
                    <a:pt x="3496" y="7213"/>
                  </a:cubicBezTo>
                  <a:cubicBezTo>
                    <a:pt x="5198" y="8368"/>
                    <a:pt x="9939" y="10039"/>
                    <a:pt x="10578" y="12015"/>
                  </a:cubicBezTo>
                  <a:cubicBezTo>
                    <a:pt x="11034" y="13504"/>
                    <a:pt x="7842" y="14751"/>
                    <a:pt x="8632" y="16088"/>
                  </a:cubicBezTo>
                  <a:cubicBezTo>
                    <a:pt x="9159" y="16926"/>
                    <a:pt x="10434" y="17177"/>
                    <a:pt x="11675" y="17177"/>
                  </a:cubicBezTo>
                  <a:cubicBezTo>
                    <a:pt x="12369" y="17177"/>
                    <a:pt x="13052" y="17098"/>
                    <a:pt x="13587" y="17000"/>
                  </a:cubicBezTo>
                  <a:cubicBezTo>
                    <a:pt x="15632" y="16651"/>
                    <a:pt x="17068" y="16517"/>
                    <a:pt x="18094" y="16517"/>
                  </a:cubicBezTo>
                  <a:cubicBezTo>
                    <a:pt x="21526" y="16517"/>
                    <a:pt x="20380" y="18018"/>
                    <a:pt x="22135" y="18018"/>
                  </a:cubicBezTo>
                  <a:cubicBezTo>
                    <a:pt x="22235" y="18018"/>
                    <a:pt x="22343" y="18013"/>
                    <a:pt x="22462" y="18003"/>
                  </a:cubicBezTo>
                  <a:cubicBezTo>
                    <a:pt x="22462" y="18003"/>
                    <a:pt x="28481" y="16483"/>
                    <a:pt x="33192" y="15693"/>
                  </a:cubicBezTo>
                  <a:lnTo>
                    <a:pt x="30396" y="3656"/>
                  </a:lnTo>
                  <a:cubicBezTo>
                    <a:pt x="30299" y="3651"/>
                    <a:pt x="30203" y="3649"/>
                    <a:pt x="30109" y="3649"/>
                  </a:cubicBezTo>
                  <a:cubicBezTo>
                    <a:pt x="27198" y="3649"/>
                    <a:pt x="25691" y="5859"/>
                    <a:pt x="24013" y="6301"/>
                  </a:cubicBezTo>
                  <a:cubicBezTo>
                    <a:pt x="23158" y="6541"/>
                    <a:pt x="22265" y="6684"/>
                    <a:pt x="21380" y="6684"/>
                  </a:cubicBezTo>
                  <a:cubicBezTo>
                    <a:pt x="20472" y="6684"/>
                    <a:pt x="19570" y="6533"/>
                    <a:pt x="18724" y="6179"/>
                  </a:cubicBezTo>
                  <a:cubicBezTo>
                    <a:pt x="16535" y="5298"/>
                    <a:pt x="15076" y="3322"/>
                    <a:pt x="13161" y="1954"/>
                  </a:cubicBezTo>
                  <a:cubicBezTo>
                    <a:pt x="11348" y="648"/>
                    <a:pt x="9119" y="1"/>
                    <a:pt x="6888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7" name="Google Shape;425;g191abe3b490_12_4485"/>
            <p:cNvSpPr/>
            <p:nvPr/>
          </p:nvSpPr>
          <p:spPr>
            <a:xfrm>
              <a:off x="5761775" y="3438025"/>
              <a:ext cx="217350" cy="244725"/>
            </a:xfrm>
            <a:custGeom>
              <a:avLst/>
              <a:ahLst/>
              <a:rect l="l" t="t" r="r" b="b"/>
              <a:pathLst>
                <a:path w="8694" h="9789" extrusionOk="0">
                  <a:moveTo>
                    <a:pt x="6444" y="1"/>
                  </a:moveTo>
                  <a:lnTo>
                    <a:pt x="0" y="2797"/>
                  </a:lnTo>
                  <a:lnTo>
                    <a:pt x="3040" y="9788"/>
                  </a:lnTo>
                  <a:lnTo>
                    <a:pt x="3314" y="9788"/>
                  </a:lnTo>
                  <a:lnTo>
                    <a:pt x="8694" y="8785"/>
                  </a:lnTo>
                  <a:lnTo>
                    <a:pt x="6444" y="1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8" name="Google Shape;426;g191abe3b490_12_4485"/>
            <p:cNvSpPr/>
            <p:nvPr/>
          </p:nvSpPr>
          <p:spPr>
            <a:xfrm>
              <a:off x="5831675" y="3629525"/>
              <a:ext cx="377700" cy="286500"/>
            </a:xfrm>
            <a:custGeom>
              <a:avLst/>
              <a:ahLst/>
              <a:rect l="l" t="t" r="r" b="b"/>
              <a:pathLst>
                <a:path w="15108" h="11460" extrusionOk="0">
                  <a:moveTo>
                    <a:pt x="5898" y="0"/>
                  </a:moveTo>
                  <a:lnTo>
                    <a:pt x="1" y="2007"/>
                  </a:lnTo>
                  <a:lnTo>
                    <a:pt x="3344" y="11460"/>
                  </a:lnTo>
                  <a:lnTo>
                    <a:pt x="15107" y="7356"/>
                  </a:lnTo>
                  <a:cubicBezTo>
                    <a:pt x="14652" y="6262"/>
                    <a:pt x="7782" y="6110"/>
                    <a:pt x="7782" y="6110"/>
                  </a:cubicBezTo>
                  <a:lnTo>
                    <a:pt x="5898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49" name="Google Shape;427;g191abe3b490_12_4485"/>
            <p:cNvSpPr/>
            <p:nvPr/>
          </p:nvSpPr>
          <p:spPr>
            <a:xfrm>
              <a:off x="5923625" y="3799650"/>
              <a:ext cx="26625" cy="23700"/>
            </a:xfrm>
            <a:custGeom>
              <a:avLst/>
              <a:ahLst/>
              <a:rect l="l" t="t" r="r" b="b"/>
              <a:pathLst>
                <a:path w="1065" h="948" extrusionOk="0">
                  <a:moveTo>
                    <a:pt x="542" y="0"/>
                  </a:moveTo>
                  <a:cubicBezTo>
                    <a:pt x="437" y="0"/>
                    <a:pt x="332" y="32"/>
                    <a:pt x="244" y="95"/>
                  </a:cubicBezTo>
                  <a:lnTo>
                    <a:pt x="274" y="65"/>
                  </a:lnTo>
                  <a:lnTo>
                    <a:pt x="274" y="65"/>
                  </a:lnTo>
                  <a:cubicBezTo>
                    <a:pt x="61" y="217"/>
                    <a:pt x="1" y="521"/>
                    <a:pt x="122" y="734"/>
                  </a:cubicBezTo>
                  <a:cubicBezTo>
                    <a:pt x="222" y="873"/>
                    <a:pt x="387" y="947"/>
                    <a:pt x="550" y="947"/>
                  </a:cubicBezTo>
                  <a:cubicBezTo>
                    <a:pt x="634" y="947"/>
                    <a:pt x="718" y="927"/>
                    <a:pt x="791" y="885"/>
                  </a:cubicBezTo>
                  <a:cubicBezTo>
                    <a:pt x="1004" y="734"/>
                    <a:pt x="1065" y="430"/>
                    <a:pt x="943" y="186"/>
                  </a:cubicBezTo>
                  <a:cubicBezTo>
                    <a:pt x="837" y="62"/>
                    <a:pt x="689" y="0"/>
                    <a:pt x="54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0" name="Google Shape;428;g191abe3b490_12_4485"/>
            <p:cNvSpPr/>
            <p:nvPr/>
          </p:nvSpPr>
          <p:spPr>
            <a:xfrm>
              <a:off x="5907675" y="3802775"/>
              <a:ext cx="301700" cy="113250"/>
            </a:xfrm>
            <a:custGeom>
              <a:avLst/>
              <a:ahLst/>
              <a:rect l="l" t="t" r="r" b="b"/>
              <a:pathLst>
                <a:path w="12068" h="4530" extrusionOk="0">
                  <a:moveTo>
                    <a:pt x="11399" y="1"/>
                  </a:moveTo>
                  <a:lnTo>
                    <a:pt x="0" y="3557"/>
                  </a:lnTo>
                  <a:lnTo>
                    <a:pt x="304" y="4530"/>
                  </a:lnTo>
                  <a:lnTo>
                    <a:pt x="12067" y="457"/>
                  </a:lnTo>
                  <a:cubicBezTo>
                    <a:pt x="12007" y="61"/>
                    <a:pt x="11399" y="1"/>
                    <a:pt x="1139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1" name="Google Shape;429;g191abe3b490_12_4485"/>
            <p:cNvSpPr/>
            <p:nvPr/>
          </p:nvSpPr>
          <p:spPr>
            <a:xfrm>
              <a:off x="6007225" y="3779050"/>
              <a:ext cx="22825" cy="26800"/>
            </a:xfrm>
            <a:custGeom>
              <a:avLst/>
              <a:ahLst/>
              <a:rect l="l" t="t" r="r" b="b"/>
              <a:pathLst>
                <a:path w="913" h="1072" extrusionOk="0">
                  <a:moveTo>
                    <a:pt x="889" y="0"/>
                  </a:moveTo>
                  <a:cubicBezTo>
                    <a:pt x="806" y="0"/>
                    <a:pt x="507" y="83"/>
                    <a:pt x="274" y="342"/>
                  </a:cubicBezTo>
                  <a:cubicBezTo>
                    <a:pt x="0" y="676"/>
                    <a:pt x="31" y="1041"/>
                    <a:pt x="91" y="1071"/>
                  </a:cubicBezTo>
                  <a:cubicBezTo>
                    <a:pt x="152" y="1071"/>
                    <a:pt x="213" y="767"/>
                    <a:pt x="426" y="494"/>
                  </a:cubicBezTo>
                  <a:cubicBezTo>
                    <a:pt x="638" y="190"/>
                    <a:pt x="912" y="68"/>
                    <a:pt x="912" y="7"/>
                  </a:cubicBezTo>
                  <a:cubicBezTo>
                    <a:pt x="912" y="3"/>
                    <a:pt x="904" y="0"/>
                    <a:pt x="88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2" name="Google Shape;430;g191abe3b490_12_4485"/>
            <p:cNvSpPr/>
            <p:nvPr/>
          </p:nvSpPr>
          <p:spPr>
            <a:xfrm>
              <a:off x="6049775" y="3781175"/>
              <a:ext cx="16750" cy="29225"/>
            </a:xfrm>
            <a:custGeom>
              <a:avLst/>
              <a:ahLst/>
              <a:rect l="l" t="t" r="r" b="b"/>
              <a:pathLst>
                <a:path w="670" h="1169" extrusionOk="0">
                  <a:moveTo>
                    <a:pt x="608" y="0"/>
                  </a:moveTo>
                  <a:cubicBezTo>
                    <a:pt x="516" y="0"/>
                    <a:pt x="252" y="157"/>
                    <a:pt x="122" y="469"/>
                  </a:cubicBezTo>
                  <a:cubicBezTo>
                    <a:pt x="0" y="865"/>
                    <a:pt x="152" y="1169"/>
                    <a:pt x="183" y="1169"/>
                  </a:cubicBezTo>
                  <a:cubicBezTo>
                    <a:pt x="244" y="1138"/>
                    <a:pt x="213" y="865"/>
                    <a:pt x="335" y="561"/>
                  </a:cubicBezTo>
                  <a:cubicBezTo>
                    <a:pt x="456" y="257"/>
                    <a:pt x="669" y="74"/>
                    <a:pt x="639" y="14"/>
                  </a:cubicBezTo>
                  <a:cubicBezTo>
                    <a:pt x="634" y="5"/>
                    <a:pt x="624" y="0"/>
                    <a:pt x="60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3" name="Google Shape;431;g191abe3b490_12_4485"/>
            <p:cNvSpPr/>
            <p:nvPr/>
          </p:nvSpPr>
          <p:spPr>
            <a:xfrm>
              <a:off x="6090075" y="3783700"/>
              <a:ext cx="9125" cy="29050"/>
            </a:xfrm>
            <a:custGeom>
              <a:avLst/>
              <a:ahLst/>
              <a:rect l="l" t="t" r="r" b="b"/>
              <a:pathLst>
                <a:path w="365" h="1162" extrusionOk="0">
                  <a:moveTo>
                    <a:pt x="325" y="1"/>
                  </a:moveTo>
                  <a:cubicBezTo>
                    <a:pt x="273" y="1"/>
                    <a:pt x="58" y="209"/>
                    <a:pt x="30" y="551"/>
                  </a:cubicBezTo>
                  <a:cubicBezTo>
                    <a:pt x="1" y="897"/>
                    <a:pt x="164" y="1161"/>
                    <a:pt x="206" y="1161"/>
                  </a:cubicBezTo>
                  <a:cubicBezTo>
                    <a:pt x="209" y="1161"/>
                    <a:pt x="211" y="1160"/>
                    <a:pt x="212" y="1159"/>
                  </a:cubicBezTo>
                  <a:cubicBezTo>
                    <a:pt x="273" y="1128"/>
                    <a:pt x="212" y="885"/>
                    <a:pt x="242" y="581"/>
                  </a:cubicBezTo>
                  <a:cubicBezTo>
                    <a:pt x="273" y="277"/>
                    <a:pt x="364" y="34"/>
                    <a:pt x="334" y="4"/>
                  </a:cubicBezTo>
                  <a:cubicBezTo>
                    <a:pt x="332" y="2"/>
                    <a:pt x="329" y="1"/>
                    <a:pt x="32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4" name="Google Shape;432;g191abe3b490_12_4485"/>
            <p:cNvSpPr/>
            <p:nvPr/>
          </p:nvSpPr>
          <p:spPr>
            <a:xfrm>
              <a:off x="5984425" y="3743700"/>
              <a:ext cx="31175" cy="14350"/>
            </a:xfrm>
            <a:custGeom>
              <a:avLst/>
              <a:ahLst/>
              <a:rect l="l" t="t" r="r" b="b"/>
              <a:pathLst>
                <a:path w="1247" h="574" extrusionOk="0">
                  <a:moveTo>
                    <a:pt x="955" y="1"/>
                  </a:moveTo>
                  <a:cubicBezTo>
                    <a:pt x="838" y="1"/>
                    <a:pt x="695" y="22"/>
                    <a:pt x="547" y="84"/>
                  </a:cubicBezTo>
                  <a:cubicBezTo>
                    <a:pt x="183" y="236"/>
                    <a:pt x="0" y="540"/>
                    <a:pt x="61" y="570"/>
                  </a:cubicBezTo>
                  <a:cubicBezTo>
                    <a:pt x="63" y="573"/>
                    <a:pt x="67" y="574"/>
                    <a:pt x="71" y="574"/>
                  </a:cubicBezTo>
                  <a:cubicBezTo>
                    <a:pt x="124" y="574"/>
                    <a:pt x="329" y="409"/>
                    <a:pt x="639" y="297"/>
                  </a:cubicBezTo>
                  <a:cubicBezTo>
                    <a:pt x="943" y="145"/>
                    <a:pt x="1247" y="145"/>
                    <a:pt x="1247" y="84"/>
                  </a:cubicBezTo>
                  <a:cubicBezTo>
                    <a:pt x="1247" y="48"/>
                    <a:pt x="1128" y="1"/>
                    <a:pt x="95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5" name="Google Shape;433;g191abe3b490_12_4485"/>
            <p:cNvSpPr/>
            <p:nvPr/>
          </p:nvSpPr>
          <p:spPr>
            <a:xfrm>
              <a:off x="5954025" y="3702650"/>
              <a:ext cx="51700" cy="18075"/>
            </a:xfrm>
            <a:custGeom>
              <a:avLst/>
              <a:ahLst/>
              <a:rect l="l" t="t" r="r" b="b"/>
              <a:pathLst>
                <a:path w="2068" h="723" extrusionOk="0">
                  <a:moveTo>
                    <a:pt x="852" y="206"/>
                  </a:moveTo>
                  <a:cubicBezTo>
                    <a:pt x="1064" y="206"/>
                    <a:pt x="1277" y="267"/>
                    <a:pt x="1490" y="328"/>
                  </a:cubicBezTo>
                  <a:cubicBezTo>
                    <a:pt x="1651" y="386"/>
                    <a:pt x="1784" y="445"/>
                    <a:pt x="1882" y="487"/>
                  </a:cubicBezTo>
                  <a:lnTo>
                    <a:pt x="1882" y="487"/>
                  </a:lnTo>
                  <a:cubicBezTo>
                    <a:pt x="1733" y="497"/>
                    <a:pt x="1589" y="519"/>
                    <a:pt x="1459" y="541"/>
                  </a:cubicBezTo>
                  <a:cubicBezTo>
                    <a:pt x="1247" y="541"/>
                    <a:pt x="1034" y="541"/>
                    <a:pt x="821" y="510"/>
                  </a:cubicBezTo>
                  <a:cubicBezTo>
                    <a:pt x="669" y="480"/>
                    <a:pt x="548" y="480"/>
                    <a:pt x="426" y="449"/>
                  </a:cubicBezTo>
                  <a:cubicBezTo>
                    <a:pt x="365" y="419"/>
                    <a:pt x="304" y="419"/>
                    <a:pt x="274" y="389"/>
                  </a:cubicBezTo>
                  <a:cubicBezTo>
                    <a:pt x="213" y="358"/>
                    <a:pt x="213" y="389"/>
                    <a:pt x="213" y="328"/>
                  </a:cubicBezTo>
                  <a:cubicBezTo>
                    <a:pt x="244" y="267"/>
                    <a:pt x="335" y="206"/>
                    <a:pt x="487" y="206"/>
                  </a:cubicBezTo>
                  <a:close/>
                  <a:moveTo>
                    <a:pt x="669" y="1"/>
                  </a:moveTo>
                  <a:cubicBezTo>
                    <a:pt x="601" y="1"/>
                    <a:pt x="532" y="9"/>
                    <a:pt x="456" y="24"/>
                  </a:cubicBezTo>
                  <a:cubicBezTo>
                    <a:pt x="396" y="24"/>
                    <a:pt x="304" y="24"/>
                    <a:pt x="244" y="54"/>
                  </a:cubicBezTo>
                  <a:cubicBezTo>
                    <a:pt x="122" y="85"/>
                    <a:pt x="61" y="176"/>
                    <a:pt x="31" y="297"/>
                  </a:cubicBezTo>
                  <a:cubicBezTo>
                    <a:pt x="0" y="389"/>
                    <a:pt x="61" y="510"/>
                    <a:pt x="152" y="571"/>
                  </a:cubicBezTo>
                  <a:cubicBezTo>
                    <a:pt x="213" y="632"/>
                    <a:pt x="304" y="632"/>
                    <a:pt x="396" y="662"/>
                  </a:cubicBezTo>
                  <a:cubicBezTo>
                    <a:pt x="517" y="692"/>
                    <a:pt x="639" y="692"/>
                    <a:pt x="791" y="723"/>
                  </a:cubicBezTo>
                  <a:cubicBezTo>
                    <a:pt x="1004" y="723"/>
                    <a:pt x="1247" y="723"/>
                    <a:pt x="1459" y="692"/>
                  </a:cubicBezTo>
                  <a:cubicBezTo>
                    <a:pt x="1642" y="692"/>
                    <a:pt x="1825" y="625"/>
                    <a:pt x="1988" y="529"/>
                  </a:cubicBezTo>
                  <a:lnTo>
                    <a:pt x="1988" y="529"/>
                  </a:lnTo>
                  <a:cubicBezTo>
                    <a:pt x="2016" y="540"/>
                    <a:pt x="2038" y="545"/>
                    <a:pt x="2052" y="545"/>
                  </a:cubicBezTo>
                  <a:cubicBezTo>
                    <a:pt x="2059" y="545"/>
                    <a:pt x="2064" y="544"/>
                    <a:pt x="2067" y="541"/>
                  </a:cubicBezTo>
                  <a:cubicBezTo>
                    <a:pt x="2067" y="541"/>
                    <a:pt x="2056" y="527"/>
                    <a:pt x="2032" y="503"/>
                  </a:cubicBezTo>
                  <a:lnTo>
                    <a:pt x="2032" y="503"/>
                  </a:lnTo>
                  <a:cubicBezTo>
                    <a:pt x="2044" y="495"/>
                    <a:pt x="2056" y="488"/>
                    <a:pt x="2067" y="480"/>
                  </a:cubicBezTo>
                  <a:cubicBezTo>
                    <a:pt x="2048" y="480"/>
                    <a:pt x="2028" y="480"/>
                    <a:pt x="2008" y="480"/>
                  </a:cubicBezTo>
                  <a:lnTo>
                    <a:pt x="2008" y="480"/>
                  </a:lnTo>
                  <a:cubicBezTo>
                    <a:pt x="1934" y="412"/>
                    <a:pt x="1787" y="294"/>
                    <a:pt x="1551" y="176"/>
                  </a:cubicBezTo>
                  <a:cubicBezTo>
                    <a:pt x="1338" y="85"/>
                    <a:pt x="1095" y="24"/>
                    <a:pt x="882" y="24"/>
                  </a:cubicBezTo>
                  <a:cubicBezTo>
                    <a:pt x="806" y="9"/>
                    <a:pt x="738" y="1"/>
                    <a:pt x="66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6" name="Google Shape;434;g191abe3b490_12_4485"/>
            <p:cNvSpPr/>
            <p:nvPr/>
          </p:nvSpPr>
          <p:spPr>
            <a:xfrm>
              <a:off x="5992025" y="3666475"/>
              <a:ext cx="22825" cy="51225"/>
            </a:xfrm>
            <a:custGeom>
              <a:avLst/>
              <a:ahLst/>
              <a:rect l="l" t="t" r="r" b="b"/>
              <a:pathLst>
                <a:path w="913" h="2049" extrusionOk="0">
                  <a:moveTo>
                    <a:pt x="377" y="0"/>
                  </a:moveTo>
                  <a:cubicBezTo>
                    <a:pt x="352" y="0"/>
                    <a:pt x="327" y="4"/>
                    <a:pt x="304" y="12"/>
                  </a:cubicBezTo>
                  <a:cubicBezTo>
                    <a:pt x="122" y="103"/>
                    <a:pt x="31" y="255"/>
                    <a:pt x="31" y="437"/>
                  </a:cubicBezTo>
                  <a:cubicBezTo>
                    <a:pt x="0" y="589"/>
                    <a:pt x="0" y="711"/>
                    <a:pt x="0" y="863"/>
                  </a:cubicBezTo>
                  <a:cubicBezTo>
                    <a:pt x="0" y="1076"/>
                    <a:pt x="61" y="1319"/>
                    <a:pt x="152" y="1532"/>
                  </a:cubicBezTo>
                  <a:cubicBezTo>
                    <a:pt x="274" y="1896"/>
                    <a:pt x="487" y="2048"/>
                    <a:pt x="487" y="2048"/>
                  </a:cubicBezTo>
                  <a:cubicBezTo>
                    <a:pt x="517" y="2018"/>
                    <a:pt x="395" y="1836"/>
                    <a:pt x="274" y="1471"/>
                  </a:cubicBezTo>
                  <a:cubicBezTo>
                    <a:pt x="213" y="1288"/>
                    <a:pt x="183" y="1076"/>
                    <a:pt x="183" y="863"/>
                  </a:cubicBezTo>
                  <a:cubicBezTo>
                    <a:pt x="183" y="711"/>
                    <a:pt x="213" y="589"/>
                    <a:pt x="243" y="468"/>
                  </a:cubicBezTo>
                  <a:cubicBezTo>
                    <a:pt x="243" y="377"/>
                    <a:pt x="274" y="255"/>
                    <a:pt x="365" y="194"/>
                  </a:cubicBezTo>
                  <a:cubicBezTo>
                    <a:pt x="373" y="190"/>
                    <a:pt x="381" y="188"/>
                    <a:pt x="389" y="188"/>
                  </a:cubicBezTo>
                  <a:cubicBezTo>
                    <a:pt x="442" y="188"/>
                    <a:pt x="495" y="271"/>
                    <a:pt x="547" y="377"/>
                  </a:cubicBezTo>
                  <a:cubicBezTo>
                    <a:pt x="608" y="498"/>
                    <a:pt x="669" y="589"/>
                    <a:pt x="699" y="711"/>
                  </a:cubicBezTo>
                  <a:cubicBezTo>
                    <a:pt x="730" y="924"/>
                    <a:pt x="730" y="1136"/>
                    <a:pt x="699" y="1319"/>
                  </a:cubicBezTo>
                  <a:cubicBezTo>
                    <a:pt x="639" y="1532"/>
                    <a:pt x="547" y="1714"/>
                    <a:pt x="487" y="1896"/>
                  </a:cubicBezTo>
                  <a:cubicBezTo>
                    <a:pt x="487" y="1896"/>
                    <a:pt x="699" y="1744"/>
                    <a:pt x="821" y="1380"/>
                  </a:cubicBezTo>
                  <a:cubicBezTo>
                    <a:pt x="912" y="1136"/>
                    <a:pt x="912" y="893"/>
                    <a:pt x="882" y="680"/>
                  </a:cubicBezTo>
                  <a:cubicBezTo>
                    <a:pt x="851" y="559"/>
                    <a:pt x="791" y="407"/>
                    <a:pt x="730" y="285"/>
                  </a:cubicBezTo>
                  <a:cubicBezTo>
                    <a:pt x="699" y="225"/>
                    <a:pt x="639" y="164"/>
                    <a:pt x="608" y="103"/>
                  </a:cubicBezTo>
                  <a:cubicBezTo>
                    <a:pt x="540" y="35"/>
                    <a:pt x="454" y="0"/>
                    <a:pt x="3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7" name="Google Shape;435;g191abe3b490_12_4485"/>
            <p:cNvSpPr/>
            <p:nvPr/>
          </p:nvSpPr>
          <p:spPr>
            <a:xfrm>
              <a:off x="4928925" y="2323275"/>
              <a:ext cx="1057050" cy="1329825"/>
            </a:xfrm>
            <a:custGeom>
              <a:avLst/>
              <a:ahLst/>
              <a:rect l="l" t="t" r="r" b="b"/>
              <a:pathLst>
                <a:path w="42282" h="53193" extrusionOk="0">
                  <a:moveTo>
                    <a:pt x="5563" y="0"/>
                  </a:moveTo>
                  <a:cubicBezTo>
                    <a:pt x="5563" y="0"/>
                    <a:pt x="1" y="11034"/>
                    <a:pt x="3739" y="13618"/>
                  </a:cubicBezTo>
                  <a:cubicBezTo>
                    <a:pt x="7478" y="16201"/>
                    <a:pt x="24986" y="29332"/>
                    <a:pt x="24986" y="29332"/>
                  </a:cubicBezTo>
                  <a:lnTo>
                    <a:pt x="33922" y="53193"/>
                  </a:lnTo>
                  <a:lnTo>
                    <a:pt x="42281" y="49758"/>
                  </a:lnTo>
                  <a:lnTo>
                    <a:pt x="35320" y="21855"/>
                  </a:lnTo>
                  <a:lnTo>
                    <a:pt x="17721" y="6080"/>
                  </a:lnTo>
                  <a:lnTo>
                    <a:pt x="5563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8" name="Google Shape;436;g191abe3b490_12_4485"/>
            <p:cNvSpPr/>
            <p:nvPr/>
          </p:nvSpPr>
          <p:spPr>
            <a:xfrm>
              <a:off x="5565725" y="2947900"/>
              <a:ext cx="40300" cy="98050"/>
            </a:xfrm>
            <a:custGeom>
              <a:avLst/>
              <a:ahLst/>
              <a:rect l="l" t="t" r="r" b="b"/>
              <a:pathLst>
                <a:path w="1612" h="3922" extrusionOk="0">
                  <a:moveTo>
                    <a:pt x="1581" y="1"/>
                  </a:moveTo>
                  <a:lnTo>
                    <a:pt x="1581" y="1"/>
                  </a:lnTo>
                  <a:cubicBezTo>
                    <a:pt x="578" y="1064"/>
                    <a:pt x="31" y="2463"/>
                    <a:pt x="0" y="3922"/>
                  </a:cubicBezTo>
                  <a:cubicBezTo>
                    <a:pt x="61" y="3922"/>
                    <a:pt x="183" y="2979"/>
                    <a:pt x="608" y="1885"/>
                  </a:cubicBezTo>
                  <a:cubicBezTo>
                    <a:pt x="1034" y="791"/>
                    <a:pt x="1611" y="31"/>
                    <a:pt x="158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59" name="Google Shape;437;g191abe3b490_12_4485"/>
            <p:cNvSpPr/>
            <p:nvPr/>
          </p:nvSpPr>
          <p:spPr>
            <a:xfrm>
              <a:off x="5556600" y="2941825"/>
              <a:ext cx="15225" cy="104125"/>
            </a:xfrm>
            <a:custGeom>
              <a:avLst/>
              <a:ahLst/>
              <a:rect l="l" t="t" r="r" b="b"/>
              <a:pathLst>
                <a:path w="609" h="4165" extrusionOk="0">
                  <a:moveTo>
                    <a:pt x="548" y="0"/>
                  </a:moveTo>
                  <a:cubicBezTo>
                    <a:pt x="274" y="639"/>
                    <a:pt x="92" y="1338"/>
                    <a:pt x="92" y="2067"/>
                  </a:cubicBezTo>
                  <a:cubicBezTo>
                    <a:pt x="1" y="2766"/>
                    <a:pt x="31" y="3466"/>
                    <a:pt x="213" y="4165"/>
                  </a:cubicBezTo>
                  <a:cubicBezTo>
                    <a:pt x="274" y="4134"/>
                    <a:pt x="183" y="3222"/>
                    <a:pt x="274" y="2067"/>
                  </a:cubicBezTo>
                  <a:cubicBezTo>
                    <a:pt x="365" y="912"/>
                    <a:pt x="608" y="0"/>
                    <a:pt x="54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0" name="Google Shape;438;g191abe3b490_12_4485"/>
            <p:cNvSpPr/>
            <p:nvPr/>
          </p:nvSpPr>
          <p:spPr>
            <a:xfrm>
              <a:off x="5020875" y="2460825"/>
              <a:ext cx="777400" cy="1183150"/>
            </a:xfrm>
            <a:custGeom>
              <a:avLst/>
              <a:ahLst/>
              <a:rect l="l" t="t" r="r" b="b"/>
              <a:pathLst>
                <a:path w="31096" h="47326" extrusionOk="0">
                  <a:moveTo>
                    <a:pt x="912" y="0"/>
                  </a:moveTo>
                  <a:lnTo>
                    <a:pt x="912" y="0"/>
                  </a:lnTo>
                  <a:cubicBezTo>
                    <a:pt x="882" y="61"/>
                    <a:pt x="852" y="91"/>
                    <a:pt x="852" y="152"/>
                  </a:cubicBezTo>
                  <a:cubicBezTo>
                    <a:pt x="821" y="243"/>
                    <a:pt x="760" y="365"/>
                    <a:pt x="669" y="547"/>
                  </a:cubicBezTo>
                  <a:cubicBezTo>
                    <a:pt x="456" y="1094"/>
                    <a:pt x="305" y="1672"/>
                    <a:pt x="183" y="2219"/>
                  </a:cubicBezTo>
                  <a:cubicBezTo>
                    <a:pt x="1" y="3131"/>
                    <a:pt x="31" y="4073"/>
                    <a:pt x="213" y="4985"/>
                  </a:cubicBezTo>
                  <a:cubicBezTo>
                    <a:pt x="365" y="5532"/>
                    <a:pt x="578" y="6079"/>
                    <a:pt x="882" y="6565"/>
                  </a:cubicBezTo>
                  <a:cubicBezTo>
                    <a:pt x="1247" y="7113"/>
                    <a:pt x="1642" y="7599"/>
                    <a:pt x="2128" y="8055"/>
                  </a:cubicBezTo>
                  <a:cubicBezTo>
                    <a:pt x="3192" y="9088"/>
                    <a:pt x="4347" y="10000"/>
                    <a:pt x="5563" y="10821"/>
                  </a:cubicBezTo>
                  <a:cubicBezTo>
                    <a:pt x="6870" y="11702"/>
                    <a:pt x="8299" y="12614"/>
                    <a:pt x="9758" y="13648"/>
                  </a:cubicBezTo>
                  <a:cubicBezTo>
                    <a:pt x="11186" y="14681"/>
                    <a:pt x="12676" y="15806"/>
                    <a:pt x="14226" y="16991"/>
                  </a:cubicBezTo>
                  <a:lnTo>
                    <a:pt x="16597" y="18754"/>
                  </a:lnTo>
                  <a:cubicBezTo>
                    <a:pt x="17387" y="19362"/>
                    <a:pt x="18177" y="20000"/>
                    <a:pt x="18967" y="20669"/>
                  </a:cubicBezTo>
                  <a:cubicBezTo>
                    <a:pt x="19961" y="21512"/>
                    <a:pt x="20955" y="22326"/>
                    <a:pt x="21890" y="23109"/>
                  </a:cubicBezTo>
                  <a:lnTo>
                    <a:pt x="21890" y="23109"/>
                  </a:lnTo>
                  <a:cubicBezTo>
                    <a:pt x="22709" y="24747"/>
                    <a:pt x="23498" y="26325"/>
                    <a:pt x="24135" y="27934"/>
                  </a:cubicBezTo>
                  <a:cubicBezTo>
                    <a:pt x="24439" y="28724"/>
                    <a:pt x="24682" y="29514"/>
                    <a:pt x="24925" y="30304"/>
                  </a:cubicBezTo>
                  <a:cubicBezTo>
                    <a:pt x="25168" y="31095"/>
                    <a:pt x="25411" y="31855"/>
                    <a:pt x="25655" y="32584"/>
                  </a:cubicBezTo>
                  <a:cubicBezTo>
                    <a:pt x="26658" y="35532"/>
                    <a:pt x="27630" y="38146"/>
                    <a:pt x="28421" y="40335"/>
                  </a:cubicBezTo>
                  <a:cubicBezTo>
                    <a:pt x="29211" y="42523"/>
                    <a:pt x="29880" y="44256"/>
                    <a:pt x="30335" y="45472"/>
                  </a:cubicBezTo>
                  <a:cubicBezTo>
                    <a:pt x="30579" y="46049"/>
                    <a:pt x="30761" y="46536"/>
                    <a:pt x="30883" y="46840"/>
                  </a:cubicBezTo>
                  <a:cubicBezTo>
                    <a:pt x="30943" y="46992"/>
                    <a:pt x="31004" y="47113"/>
                    <a:pt x="31035" y="47204"/>
                  </a:cubicBezTo>
                  <a:lnTo>
                    <a:pt x="30913" y="46809"/>
                  </a:lnTo>
                  <a:cubicBezTo>
                    <a:pt x="30761" y="46475"/>
                    <a:pt x="30609" y="46019"/>
                    <a:pt x="30396" y="45411"/>
                  </a:cubicBezTo>
                  <a:lnTo>
                    <a:pt x="28512" y="40274"/>
                  </a:lnTo>
                  <a:cubicBezTo>
                    <a:pt x="27721" y="38086"/>
                    <a:pt x="26779" y="35472"/>
                    <a:pt x="25807" y="32523"/>
                  </a:cubicBezTo>
                  <a:cubicBezTo>
                    <a:pt x="25563" y="31763"/>
                    <a:pt x="25320" y="31004"/>
                    <a:pt x="25077" y="30244"/>
                  </a:cubicBezTo>
                  <a:cubicBezTo>
                    <a:pt x="24834" y="29423"/>
                    <a:pt x="24591" y="28633"/>
                    <a:pt x="24287" y="27842"/>
                  </a:cubicBezTo>
                  <a:cubicBezTo>
                    <a:pt x="23648" y="26231"/>
                    <a:pt x="22889" y="24651"/>
                    <a:pt x="22037" y="23009"/>
                  </a:cubicBezTo>
                  <a:lnTo>
                    <a:pt x="22037" y="22979"/>
                  </a:lnTo>
                  <a:cubicBezTo>
                    <a:pt x="21095" y="22189"/>
                    <a:pt x="20123" y="21338"/>
                    <a:pt x="19089" y="20517"/>
                  </a:cubicBezTo>
                  <a:cubicBezTo>
                    <a:pt x="18299" y="19879"/>
                    <a:pt x="17508" y="19210"/>
                    <a:pt x="16718" y="18602"/>
                  </a:cubicBezTo>
                  <a:lnTo>
                    <a:pt x="14347" y="16839"/>
                  </a:lnTo>
                  <a:cubicBezTo>
                    <a:pt x="12797" y="15654"/>
                    <a:pt x="11308" y="14529"/>
                    <a:pt x="9849" y="13496"/>
                  </a:cubicBezTo>
                  <a:cubicBezTo>
                    <a:pt x="8420" y="12462"/>
                    <a:pt x="6961" y="11581"/>
                    <a:pt x="5654" y="10699"/>
                  </a:cubicBezTo>
                  <a:cubicBezTo>
                    <a:pt x="4438" y="9879"/>
                    <a:pt x="3283" y="8967"/>
                    <a:pt x="2219" y="7964"/>
                  </a:cubicBezTo>
                  <a:cubicBezTo>
                    <a:pt x="1764" y="7508"/>
                    <a:pt x="1338" y="7021"/>
                    <a:pt x="1004" y="6505"/>
                  </a:cubicBezTo>
                  <a:cubicBezTo>
                    <a:pt x="700" y="6018"/>
                    <a:pt x="487" y="5502"/>
                    <a:pt x="335" y="4954"/>
                  </a:cubicBezTo>
                  <a:cubicBezTo>
                    <a:pt x="122" y="4073"/>
                    <a:pt x="92" y="3131"/>
                    <a:pt x="274" y="2249"/>
                  </a:cubicBezTo>
                  <a:cubicBezTo>
                    <a:pt x="365" y="1672"/>
                    <a:pt x="517" y="1125"/>
                    <a:pt x="730" y="578"/>
                  </a:cubicBezTo>
                  <a:cubicBezTo>
                    <a:pt x="791" y="395"/>
                    <a:pt x="821" y="243"/>
                    <a:pt x="882" y="152"/>
                  </a:cubicBezTo>
                  <a:cubicBezTo>
                    <a:pt x="912" y="61"/>
                    <a:pt x="912" y="0"/>
                    <a:pt x="912" y="0"/>
                  </a:cubicBezTo>
                  <a:close/>
                  <a:moveTo>
                    <a:pt x="31035" y="47205"/>
                  </a:moveTo>
                  <a:lnTo>
                    <a:pt x="31035" y="47205"/>
                  </a:lnTo>
                  <a:cubicBezTo>
                    <a:pt x="31035" y="47235"/>
                    <a:pt x="31065" y="47296"/>
                    <a:pt x="31095" y="47326"/>
                  </a:cubicBezTo>
                  <a:cubicBezTo>
                    <a:pt x="31065" y="47265"/>
                    <a:pt x="31035" y="47235"/>
                    <a:pt x="31035" y="4720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1" name="Google Shape;439;g191abe3b490_12_4485"/>
            <p:cNvSpPr/>
            <p:nvPr/>
          </p:nvSpPr>
          <p:spPr>
            <a:xfrm>
              <a:off x="5240475" y="2411425"/>
              <a:ext cx="407325" cy="141350"/>
            </a:xfrm>
            <a:custGeom>
              <a:avLst/>
              <a:ahLst/>
              <a:rect l="l" t="t" r="r" b="b"/>
              <a:pathLst>
                <a:path w="16293" h="5654" extrusionOk="0">
                  <a:moveTo>
                    <a:pt x="1" y="0"/>
                  </a:moveTo>
                  <a:lnTo>
                    <a:pt x="8724" y="5654"/>
                  </a:lnTo>
                  <a:lnTo>
                    <a:pt x="16293" y="2918"/>
                  </a:lnTo>
                  <a:lnTo>
                    <a:pt x="10761" y="152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2" name="Google Shape;440;g191abe3b490_12_4485"/>
            <p:cNvSpPr/>
            <p:nvPr/>
          </p:nvSpPr>
          <p:spPr>
            <a:xfrm>
              <a:off x="4716150" y="2391625"/>
              <a:ext cx="194575" cy="82125"/>
            </a:xfrm>
            <a:custGeom>
              <a:avLst/>
              <a:ahLst/>
              <a:rect l="l" t="t" r="r" b="b"/>
              <a:pathLst>
                <a:path w="7783" h="3285" extrusionOk="0">
                  <a:moveTo>
                    <a:pt x="7777" y="0"/>
                  </a:moveTo>
                  <a:cubicBezTo>
                    <a:pt x="7721" y="0"/>
                    <a:pt x="7361" y="325"/>
                    <a:pt x="6779" y="762"/>
                  </a:cubicBezTo>
                  <a:cubicBezTo>
                    <a:pt x="5958" y="1370"/>
                    <a:pt x="5077" y="1887"/>
                    <a:pt x="4135" y="2282"/>
                  </a:cubicBezTo>
                  <a:cubicBezTo>
                    <a:pt x="3223" y="2646"/>
                    <a:pt x="2220" y="2920"/>
                    <a:pt x="1247" y="3072"/>
                  </a:cubicBezTo>
                  <a:cubicBezTo>
                    <a:pt x="457" y="3194"/>
                    <a:pt x="1" y="3224"/>
                    <a:pt x="1" y="3254"/>
                  </a:cubicBezTo>
                  <a:cubicBezTo>
                    <a:pt x="92" y="3285"/>
                    <a:pt x="214" y="3285"/>
                    <a:pt x="335" y="3285"/>
                  </a:cubicBezTo>
                  <a:cubicBezTo>
                    <a:pt x="639" y="3285"/>
                    <a:pt x="943" y="3254"/>
                    <a:pt x="1247" y="3224"/>
                  </a:cubicBezTo>
                  <a:cubicBezTo>
                    <a:pt x="3314" y="2981"/>
                    <a:pt x="5229" y="2190"/>
                    <a:pt x="6840" y="883"/>
                  </a:cubicBezTo>
                  <a:cubicBezTo>
                    <a:pt x="7083" y="701"/>
                    <a:pt x="7326" y="488"/>
                    <a:pt x="7539" y="276"/>
                  </a:cubicBezTo>
                  <a:cubicBezTo>
                    <a:pt x="7630" y="184"/>
                    <a:pt x="7691" y="93"/>
                    <a:pt x="7782" y="2"/>
                  </a:cubicBezTo>
                  <a:cubicBezTo>
                    <a:pt x="7781" y="1"/>
                    <a:pt x="7779" y="0"/>
                    <a:pt x="77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3" name="Google Shape;441;g191abe3b490_12_4485"/>
            <p:cNvSpPr/>
            <p:nvPr/>
          </p:nvSpPr>
          <p:spPr>
            <a:xfrm>
              <a:off x="5052025" y="1573250"/>
              <a:ext cx="905075" cy="883025"/>
            </a:xfrm>
            <a:custGeom>
              <a:avLst/>
              <a:ahLst/>
              <a:rect l="l" t="t" r="r" b="b"/>
              <a:pathLst>
                <a:path w="36203" h="35321" extrusionOk="0">
                  <a:moveTo>
                    <a:pt x="17965" y="1"/>
                  </a:moveTo>
                  <a:lnTo>
                    <a:pt x="15503" y="62"/>
                  </a:lnTo>
                  <a:cubicBezTo>
                    <a:pt x="13405" y="123"/>
                    <a:pt x="11338" y="335"/>
                    <a:pt x="9302" y="700"/>
                  </a:cubicBezTo>
                  <a:cubicBezTo>
                    <a:pt x="8025" y="943"/>
                    <a:pt x="6840" y="1582"/>
                    <a:pt x="5958" y="2493"/>
                  </a:cubicBezTo>
                  <a:cubicBezTo>
                    <a:pt x="5138" y="3405"/>
                    <a:pt x="4530" y="4500"/>
                    <a:pt x="4226" y="5685"/>
                  </a:cubicBezTo>
                  <a:lnTo>
                    <a:pt x="2068" y="16962"/>
                  </a:lnTo>
                  <a:lnTo>
                    <a:pt x="1" y="32585"/>
                  </a:lnTo>
                  <a:cubicBezTo>
                    <a:pt x="1" y="32585"/>
                    <a:pt x="881" y="32527"/>
                    <a:pt x="2234" y="32527"/>
                  </a:cubicBezTo>
                  <a:cubicBezTo>
                    <a:pt x="4669" y="32527"/>
                    <a:pt x="8638" y="32715"/>
                    <a:pt x="11764" y="33770"/>
                  </a:cubicBezTo>
                  <a:cubicBezTo>
                    <a:pt x="16286" y="35268"/>
                    <a:pt x="19205" y="35321"/>
                    <a:pt x="19592" y="35321"/>
                  </a:cubicBezTo>
                  <a:cubicBezTo>
                    <a:pt x="19622" y="35321"/>
                    <a:pt x="19636" y="35321"/>
                    <a:pt x="19636" y="35321"/>
                  </a:cubicBezTo>
                  <a:lnTo>
                    <a:pt x="18603" y="25594"/>
                  </a:lnTo>
                  <a:lnTo>
                    <a:pt x="22250" y="17630"/>
                  </a:lnTo>
                  <a:lnTo>
                    <a:pt x="23861" y="26962"/>
                  </a:lnTo>
                  <a:lnTo>
                    <a:pt x="31308" y="34652"/>
                  </a:lnTo>
                  <a:lnTo>
                    <a:pt x="36202" y="33558"/>
                  </a:lnTo>
                  <a:lnTo>
                    <a:pt x="31156" y="25108"/>
                  </a:lnTo>
                  <a:lnTo>
                    <a:pt x="27630" y="7873"/>
                  </a:lnTo>
                  <a:cubicBezTo>
                    <a:pt x="27357" y="6445"/>
                    <a:pt x="26567" y="5138"/>
                    <a:pt x="25442" y="4226"/>
                  </a:cubicBezTo>
                  <a:lnTo>
                    <a:pt x="25290" y="4104"/>
                  </a:lnTo>
                  <a:lnTo>
                    <a:pt x="17965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4" name="Google Shape;442;g191abe3b490_12_4485"/>
            <p:cNvSpPr/>
            <p:nvPr/>
          </p:nvSpPr>
          <p:spPr>
            <a:xfrm>
              <a:off x="5550525" y="1833900"/>
              <a:ext cx="135275" cy="310075"/>
            </a:xfrm>
            <a:custGeom>
              <a:avLst/>
              <a:ahLst/>
              <a:rect l="l" t="t" r="r" b="b"/>
              <a:pathLst>
                <a:path w="5411" h="12403" extrusionOk="0">
                  <a:moveTo>
                    <a:pt x="5411" y="1"/>
                  </a:moveTo>
                  <a:cubicBezTo>
                    <a:pt x="5320" y="153"/>
                    <a:pt x="5259" y="305"/>
                    <a:pt x="5168" y="487"/>
                  </a:cubicBezTo>
                  <a:lnTo>
                    <a:pt x="4560" y="1794"/>
                  </a:lnTo>
                  <a:cubicBezTo>
                    <a:pt x="4043" y="2919"/>
                    <a:pt x="3374" y="4438"/>
                    <a:pt x="2614" y="6171"/>
                  </a:cubicBezTo>
                  <a:cubicBezTo>
                    <a:pt x="1855" y="7873"/>
                    <a:pt x="1186" y="9423"/>
                    <a:pt x="699" y="10548"/>
                  </a:cubicBezTo>
                  <a:cubicBezTo>
                    <a:pt x="487" y="11125"/>
                    <a:pt x="304" y="11581"/>
                    <a:pt x="152" y="11885"/>
                  </a:cubicBezTo>
                  <a:cubicBezTo>
                    <a:pt x="92" y="12068"/>
                    <a:pt x="31" y="12220"/>
                    <a:pt x="0" y="12402"/>
                  </a:cubicBezTo>
                  <a:cubicBezTo>
                    <a:pt x="92" y="12250"/>
                    <a:pt x="183" y="12098"/>
                    <a:pt x="244" y="11916"/>
                  </a:cubicBezTo>
                  <a:cubicBezTo>
                    <a:pt x="396" y="11581"/>
                    <a:pt x="608" y="11125"/>
                    <a:pt x="851" y="10609"/>
                  </a:cubicBezTo>
                  <a:lnTo>
                    <a:pt x="2797" y="6232"/>
                  </a:lnTo>
                  <a:cubicBezTo>
                    <a:pt x="3557" y="4530"/>
                    <a:pt x="4195" y="2979"/>
                    <a:pt x="4681" y="1855"/>
                  </a:cubicBezTo>
                  <a:lnTo>
                    <a:pt x="5228" y="517"/>
                  </a:lnTo>
                  <a:cubicBezTo>
                    <a:pt x="5320" y="335"/>
                    <a:pt x="5380" y="183"/>
                    <a:pt x="54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5" name="Google Shape;443;g191abe3b490_12_4485"/>
            <p:cNvSpPr/>
            <p:nvPr/>
          </p:nvSpPr>
          <p:spPr>
            <a:xfrm>
              <a:off x="5151575" y="1615825"/>
              <a:ext cx="660375" cy="894400"/>
            </a:xfrm>
            <a:custGeom>
              <a:avLst/>
              <a:ahLst/>
              <a:rect l="l" t="t" r="r" b="b"/>
              <a:pathLst>
                <a:path w="26415" h="35776" extrusionOk="0">
                  <a:moveTo>
                    <a:pt x="4737" y="1"/>
                  </a:moveTo>
                  <a:cubicBezTo>
                    <a:pt x="4046" y="1"/>
                    <a:pt x="3374" y="153"/>
                    <a:pt x="2797" y="486"/>
                  </a:cubicBezTo>
                  <a:cubicBezTo>
                    <a:pt x="1156" y="1459"/>
                    <a:pt x="1" y="4195"/>
                    <a:pt x="669" y="6018"/>
                  </a:cubicBezTo>
                  <a:cubicBezTo>
                    <a:pt x="2098" y="10000"/>
                    <a:pt x="4834" y="19089"/>
                    <a:pt x="6171" y="22584"/>
                  </a:cubicBezTo>
                  <a:cubicBezTo>
                    <a:pt x="6596" y="23648"/>
                    <a:pt x="7265" y="24590"/>
                    <a:pt x="8177" y="25289"/>
                  </a:cubicBezTo>
                  <a:lnTo>
                    <a:pt x="22980" y="35776"/>
                  </a:lnTo>
                  <a:lnTo>
                    <a:pt x="26414" y="31338"/>
                  </a:lnTo>
                  <a:lnTo>
                    <a:pt x="15290" y="20608"/>
                  </a:lnTo>
                  <a:lnTo>
                    <a:pt x="9302" y="2888"/>
                  </a:lnTo>
                  <a:cubicBezTo>
                    <a:pt x="8678" y="1150"/>
                    <a:pt x="6634" y="1"/>
                    <a:pt x="473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6" name="Google Shape;444;g191abe3b490_12_4485"/>
            <p:cNvSpPr/>
            <p:nvPr/>
          </p:nvSpPr>
          <p:spPr>
            <a:xfrm>
              <a:off x="5191850" y="1706250"/>
              <a:ext cx="623900" cy="807775"/>
            </a:xfrm>
            <a:custGeom>
              <a:avLst/>
              <a:ahLst/>
              <a:rect l="l" t="t" r="r" b="b"/>
              <a:pathLst>
                <a:path w="24956" h="32311" extrusionOk="0">
                  <a:moveTo>
                    <a:pt x="7995" y="0"/>
                  </a:moveTo>
                  <a:cubicBezTo>
                    <a:pt x="7995" y="3"/>
                    <a:pt x="8026" y="95"/>
                    <a:pt x="8086" y="335"/>
                  </a:cubicBezTo>
                  <a:lnTo>
                    <a:pt x="8390" y="1246"/>
                  </a:lnTo>
                  <a:lnTo>
                    <a:pt x="9514" y="4712"/>
                  </a:lnTo>
                  <a:cubicBezTo>
                    <a:pt x="10518" y="7690"/>
                    <a:pt x="11946" y="11915"/>
                    <a:pt x="13648" y="17052"/>
                  </a:cubicBezTo>
                  <a:lnTo>
                    <a:pt x="13648" y="17083"/>
                  </a:lnTo>
                  <a:lnTo>
                    <a:pt x="24676" y="27717"/>
                  </a:lnTo>
                  <a:lnTo>
                    <a:pt x="22281" y="30852"/>
                  </a:lnTo>
                  <a:lnTo>
                    <a:pt x="21381" y="32041"/>
                  </a:lnTo>
                  <a:lnTo>
                    <a:pt x="10062" y="23922"/>
                  </a:lnTo>
                  <a:lnTo>
                    <a:pt x="7508" y="22067"/>
                  </a:lnTo>
                  <a:lnTo>
                    <a:pt x="6900" y="21611"/>
                  </a:lnTo>
                  <a:cubicBezTo>
                    <a:pt x="6688" y="21490"/>
                    <a:pt x="6505" y="21338"/>
                    <a:pt x="6323" y="21186"/>
                  </a:cubicBezTo>
                  <a:cubicBezTo>
                    <a:pt x="5958" y="20852"/>
                    <a:pt x="5654" y="20487"/>
                    <a:pt x="5381" y="20092"/>
                  </a:cubicBezTo>
                  <a:cubicBezTo>
                    <a:pt x="5137" y="19697"/>
                    <a:pt x="4925" y="19271"/>
                    <a:pt x="4773" y="18845"/>
                  </a:cubicBezTo>
                  <a:cubicBezTo>
                    <a:pt x="4621" y="18420"/>
                    <a:pt x="4438" y="17994"/>
                    <a:pt x="4286" y="17569"/>
                  </a:cubicBezTo>
                  <a:cubicBezTo>
                    <a:pt x="3982" y="16748"/>
                    <a:pt x="3678" y="15958"/>
                    <a:pt x="3405" y="15198"/>
                  </a:cubicBezTo>
                  <a:cubicBezTo>
                    <a:pt x="2280" y="12158"/>
                    <a:pt x="1460" y="9696"/>
                    <a:pt x="912" y="7994"/>
                  </a:cubicBezTo>
                  <a:cubicBezTo>
                    <a:pt x="639" y="7143"/>
                    <a:pt x="396" y="6474"/>
                    <a:pt x="244" y="6019"/>
                  </a:cubicBezTo>
                  <a:cubicBezTo>
                    <a:pt x="183" y="5806"/>
                    <a:pt x="122" y="5623"/>
                    <a:pt x="92" y="5502"/>
                  </a:cubicBezTo>
                  <a:cubicBezTo>
                    <a:pt x="32" y="5383"/>
                    <a:pt x="2" y="5322"/>
                    <a:pt x="1" y="5320"/>
                  </a:cubicBezTo>
                  <a:lnTo>
                    <a:pt x="1" y="5320"/>
                  </a:lnTo>
                  <a:cubicBezTo>
                    <a:pt x="31" y="5380"/>
                    <a:pt x="31" y="5441"/>
                    <a:pt x="61" y="5502"/>
                  </a:cubicBezTo>
                  <a:cubicBezTo>
                    <a:pt x="92" y="5654"/>
                    <a:pt x="153" y="5806"/>
                    <a:pt x="213" y="6019"/>
                  </a:cubicBezTo>
                  <a:cubicBezTo>
                    <a:pt x="365" y="6474"/>
                    <a:pt x="548" y="7143"/>
                    <a:pt x="821" y="7994"/>
                  </a:cubicBezTo>
                  <a:cubicBezTo>
                    <a:pt x="1368" y="9727"/>
                    <a:pt x="2189" y="12219"/>
                    <a:pt x="3253" y="15259"/>
                  </a:cubicBezTo>
                  <a:cubicBezTo>
                    <a:pt x="3526" y="16019"/>
                    <a:pt x="3830" y="16809"/>
                    <a:pt x="4134" y="17630"/>
                  </a:cubicBezTo>
                  <a:lnTo>
                    <a:pt x="4651" y="18906"/>
                  </a:lnTo>
                  <a:cubicBezTo>
                    <a:pt x="4803" y="19332"/>
                    <a:pt x="5016" y="19757"/>
                    <a:pt x="5259" y="20152"/>
                  </a:cubicBezTo>
                  <a:cubicBezTo>
                    <a:pt x="5533" y="20578"/>
                    <a:pt x="5837" y="20973"/>
                    <a:pt x="6201" y="21308"/>
                  </a:cubicBezTo>
                  <a:cubicBezTo>
                    <a:pt x="6384" y="21459"/>
                    <a:pt x="6596" y="21642"/>
                    <a:pt x="6779" y="21763"/>
                  </a:cubicBezTo>
                  <a:lnTo>
                    <a:pt x="7417" y="22219"/>
                  </a:lnTo>
                  <a:lnTo>
                    <a:pt x="9940" y="24043"/>
                  </a:lnTo>
                  <a:lnTo>
                    <a:pt x="21338" y="32250"/>
                  </a:lnTo>
                  <a:lnTo>
                    <a:pt x="21399" y="32311"/>
                  </a:lnTo>
                  <a:lnTo>
                    <a:pt x="21460" y="32220"/>
                  </a:lnTo>
                  <a:cubicBezTo>
                    <a:pt x="21764" y="31824"/>
                    <a:pt x="22098" y="31399"/>
                    <a:pt x="22433" y="30973"/>
                  </a:cubicBezTo>
                  <a:lnTo>
                    <a:pt x="24895" y="27782"/>
                  </a:lnTo>
                  <a:lnTo>
                    <a:pt x="24955" y="27691"/>
                  </a:lnTo>
                  <a:lnTo>
                    <a:pt x="24895" y="27630"/>
                  </a:lnTo>
                  <a:lnTo>
                    <a:pt x="13770" y="16931"/>
                  </a:lnTo>
                  <a:lnTo>
                    <a:pt x="13770" y="16961"/>
                  </a:lnTo>
                  <a:lnTo>
                    <a:pt x="9606" y="4651"/>
                  </a:lnTo>
                  <a:cubicBezTo>
                    <a:pt x="9089" y="3161"/>
                    <a:pt x="8694" y="2006"/>
                    <a:pt x="8420" y="1216"/>
                  </a:cubicBezTo>
                  <a:lnTo>
                    <a:pt x="8086" y="304"/>
                  </a:lnTo>
                  <a:cubicBezTo>
                    <a:pt x="8026" y="94"/>
                    <a:pt x="7995" y="3"/>
                    <a:pt x="799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7" name="Google Shape;445;g191abe3b490_12_4485"/>
            <p:cNvSpPr/>
            <p:nvPr/>
          </p:nvSpPr>
          <p:spPr>
            <a:xfrm>
              <a:off x="5211600" y="1617125"/>
              <a:ext cx="144425" cy="35200"/>
            </a:xfrm>
            <a:custGeom>
              <a:avLst/>
              <a:ahLst/>
              <a:rect l="l" t="t" r="r" b="b"/>
              <a:pathLst>
                <a:path w="5777" h="1408" extrusionOk="0">
                  <a:moveTo>
                    <a:pt x="2755" y="1"/>
                  </a:moveTo>
                  <a:cubicBezTo>
                    <a:pt x="2057" y="1"/>
                    <a:pt x="1358" y="177"/>
                    <a:pt x="730" y="526"/>
                  </a:cubicBezTo>
                  <a:cubicBezTo>
                    <a:pt x="457" y="678"/>
                    <a:pt x="214" y="860"/>
                    <a:pt x="1" y="1134"/>
                  </a:cubicBezTo>
                  <a:cubicBezTo>
                    <a:pt x="31" y="1134"/>
                    <a:pt x="305" y="921"/>
                    <a:pt x="791" y="647"/>
                  </a:cubicBezTo>
                  <a:cubicBezTo>
                    <a:pt x="1404" y="348"/>
                    <a:pt x="2060" y="201"/>
                    <a:pt x="2711" y="201"/>
                  </a:cubicBezTo>
                  <a:cubicBezTo>
                    <a:pt x="3514" y="201"/>
                    <a:pt x="4312" y="424"/>
                    <a:pt x="5016" y="860"/>
                  </a:cubicBezTo>
                  <a:cubicBezTo>
                    <a:pt x="5503" y="1164"/>
                    <a:pt x="5746" y="1407"/>
                    <a:pt x="5776" y="1407"/>
                  </a:cubicBezTo>
                  <a:cubicBezTo>
                    <a:pt x="5594" y="1134"/>
                    <a:pt x="5351" y="921"/>
                    <a:pt x="5107" y="738"/>
                  </a:cubicBezTo>
                  <a:cubicBezTo>
                    <a:pt x="4400" y="245"/>
                    <a:pt x="3578" y="1"/>
                    <a:pt x="275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8" name="Google Shape;446;g191abe3b490_12_4485"/>
            <p:cNvSpPr/>
            <p:nvPr/>
          </p:nvSpPr>
          <p:spPr>
            <a:xfrm>
              <a:off x="5764800" y="2203400"/>
              <a:ext cx="73750" cy="21275"/>
            </a:xfrm>
            <a:custGeom>
              <a:avLst/>
              <a:ahLst/>
              <a:rect l="l" t="t" r="r" b="b"/>
              <a:pathLst>
                <a:path w="2950" h="851" extrusionOk="0">
                  <a:moveTo>
                    <a:pt x="2174" y="1"/>
                  </a:moveTo>
                  <a:cubicBezTo>
                    <a:pt x="1916" y="1"/>
                    <a:pt x="1658" y="39"/>
                    <a:pt x="1399" y="114"/>
                  </a:cubicBezTo>
                  <a:cubicBezTo>
                    <a:pt x="852" y="206"/>
                    <a:pt x="366" y="449"/>
                    <a:pt x="1" y="844"/>
                  </a:cubicBezTo>
                  <a:cubicBezTo>
                    <a:pt x="3" y="848"/>
                    <a:pt x="8" y="850"/>
                    <a:pt x="15" y="850"/>
                  </a:cubicBezTo>
                  <a:cubicBezTo>
                    <a:pt x="114" y="850"/>
                    <a:pt x="667" y="497"/>
                    <a:pt x="1430" y="327"/>
                  </a:cubicBezTo>
                  <a:cubicBezTo>
                    <a:pt x="2250" y="114"/>
                    <a:pt x="2949" y="175"/>
                    <a:pt x="2949" y="114"/>
                  </a:cubicBezTo>
                  <a:cubicBezTo>
                    <a:pt x="2691" y="39"/>
                    <a:pt x="2433" y="1"/>
                    <a:pt x="217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69" name="Google Shape;447;g191abe3b490_12_4485"/>
            <p:cNvSpPr/>
            <p:nvPr/>
          </p:nvSpPr>
          <p:spPr>
            <a:xfrm>
              <a:off x="5126500" y="1893175"/>
              <a:ext cx="90450" cy="25850"/>
            </a:xfrm>
            <a:custGeom>
              <a:avLst/>
              <a:ahLst/>
              <a:rect l="l" t="t" r="r" b="b"/>
              <a:pathLst>
                <a:path w="3618" h="1034" extrusionOk="0">
                  <a:moveTo>
                    <a:pt x="3618" y="912"/>
                  </a:moveTo>
                  <a:cubicBezTo>
                    <a:pt x="3605" y="912"/>
                    <a:pt x="3591" y="914"/>
                    <a:pt x="3579" y="916"/>
                  </a:cubicBezTo>
                  <a:lnTo>
                    <a:pt x="3579" y="916"/>
                  </a:lnTo>
                  <a:cubicBezTo>
                    <a:pt x="3592" y="915"/>
                    <a:pt x="3605" y="914"/>
                    <a:pt x="3618" y="912"/>
                  </a:cubicBezTo>
                  <a:close/>
                  <a:moveTo>
                    <a:pt x="1" y="1"/>
                  </a:moveTo>
                  <a:lnTo>
                    <a:pt x="1" y="1"/>
                  </a:lnTo>
                  <a:cubicBezTo>
                    <a:pt x="31" y="31"/>
                    <a:pt x="61" y="61"/>
                    <a:pt x="92" y="92"/>
                  </a:cubicBezTo>
                  <a:cubicBezTo>
                    <a:pt x="548" y="487"/>
                    <a:pt x="1095" y="760"/>
                    <a:pt x="1672" y="912"/>
                  </a:cubicBezTo>
                  <a:cubicBezTo>
                    <a:pt x="1976" y="993"/>
                    <a:pt x="2280" y="1034"/>
                    <a:pt x="2584" y="1034"/>
                  </a:cubicBezTo>
                  <a:cubicBezTo>
                    <a:pt x="2736" y="1034"/>
                    <a:pt x="2888" y="1024"/>
                    <a:pt x="3040" y="1004"/>
                  </a:cubicBezTo>
                  <a:cubicBezTo>
                    <a:pt x="3192" y="1004"/>
                    <a:pt x="3314" y="973"/>
                    <a:pt x="3466" y="943"/>
                  </a:cubicBezTo>
                  <a:cubicBezTo>
                    <a:pt x="3489" y="943"/>
                    <a:pt x="3532" y="924"/>
                    <a:pt x="3579" y="916"/>
                  </a:cubicBezTo>
                  <a:lnTo>
                    <a:pt x="3579" y="916"/>
                  </a:lnTo>
                  <a:cubicBezTo>
                    <a:pt x="3327" y="939"/>
                    <a:pt x="3076" y="952"/>
                    <a:pt x="2824" y="952"/>
                  </a:cubicBezTo>
                  <a:cubicBezTo>
                    <a:pt x="2451" y="952"/>
                    <a:pt x="2077" y="923"/>
                    <a:pt x="1703" y="852"/>
                  </a:cubicBezTo>
                  <a:cubicBezTo>
                    <a:pt x="1095" y="669"/>
                    <a:pt x="517" y="365"/>
                    <a:pt x="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0" name="Google Shape;448;g191abe3b490_12_4485"/>
            <p:cNvSpPr/>
            <p:nvPr/>
          </p:nvSpPr>
          <p:spPr>
            <a:xfrm>
              <a:off x="5110550" y="1975225"/>
              <a:ext cx="135275" cy="25125"/>
            </a:xfrm>
            <a:custGeom>
              <a:avLst/>
              <a:ahLst/>
              <a:rect l="l" t="t" r="r" b="b"/>
              <a:pathLst>
                <a:path w="5411" h="1005" extrusionOk="0">
                  <a:moveTo>
                    <a:pt x="2095" y="0"/>
                  </a:moveTo>
                  <a:cubicBezTo>
                    <a:pt x="1672" y="0"/>
                    <a:pt x="1253" y="34"/>
                    <a:pt x="821" y="92"/>
                  </a:cubicBezTo>
                  <a:cubicBezTo>
                    <a:pt x="578" y="123"/>
                    <a:pt x="365" y="153"/>
                    <a:pt x="213" y="184"/>
                  </a:cubicBezTo>
                  <a:cubicBezTo>
                    <a:pt x="152" y="184"/>
                    <a:pt x="91" y="184"/>
                    <a:pt x="0" y="214"/>
                  </a:cubicBezTo>
                  <a:lnTo>
                    <a:pt x="213" y="214"/>
                  </a:lnTo>
                  <a:lnTo>
                    <a:pt x="821" y="153"/>
                  </a:lnTo>
                  <a:cubicBezTo>
                    <a:pt x="1234" y="116"/>
                    <a:pt x="1636" y="90"/>
                    <a:pt x="2040" y="90"/>
                  </a:cubicBezTo>
                  <a:cubicBezTo>
                    <a:pt x="2290" y="90"/>
                    <a:pt x="2541" y="100"/>
                    <a:pt x="2797" y="123"/>
                  </a:cubicBezTo>
                  <a:cubicBezTo>
                    <a:pt x="3465" y="153"/>
                    <a:pt x="4104" y="305"/>
                    <a:pt x="4681" y="609"/>
                  </a:cubicBezTo>
                  <a:cubicBezTo>
                    <a:pt x="4924" y="731"/>
                    <a:pt x="5168" y="852"/>
                    <a:pt x="5411" y="1004"/>
                  </a:cubicBezTo>
                  <a:cubicBezTo>
                    <a:pt x="5350" y="944"/>
                    <a:pt x="5289" y="883"/>
                    <a:pt x="5198" y="852"/>
                  </a:cubicBezTo>
                  <a:cubicBezTo>
                    <a:pt x="5046" y="731"/>
                    <a:pt x="4894" y="609"/>
                    <a:pt x="4712" y="518"/>
                  </a:cubicBezTo>
                  <a:cubicBezTo>
                    <a:pt x="4104" y="244"/>
                    <a:pt x="3465" y="62"/>
                    <a:pt x="2797" y="32"/>
                  </a:cubicBezTo>
                  <a:cubicBezTo>
                    <a:pt x="2560" y="10"/>
                    <a:pt x="2327" y="0"/>
                    <a:pt x="2095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1" name="Google Shape;449;g191abe3b490_12_4485"/>
            <p:cNvSpPr/>
            <p:nvPr/>
          </p:nvSpPr>
          <p:spPr>
            <a:xfrm>
              <a:off x="5197925" y="1856700"/>
              <a:ext cx="291075" cy="490150"/>
            </a:xfrm>
            <a:custGeom>
              <a:avLst/>
              <a:ahLst/>
              <a:rect l="l" t="t" r="r" b="b"/>
              <a:pathLst>
                <a:path w="11643" h="19606" extrusionOk="0">
                  <a:moveTo>
                    <a:pt x="1" y="1"/>
                  </a:moveTo>
                  <a:cubicBezTo>
                    <a:pt x="1" y="1"/>
                    <a:pt x="366" y="5928"/>
                    <a:pt x="821" y="8694"/>
                  </a:cubicBezTo>
                  <a:cubicBezTo>
                    <a:pt x="1247" y="11429"/>
                    <a:pt x="2128" y="14226"/>
                    <a:pt x="4104" y="16201"/>
                  </a:cubicBezTo>
                  <a:cubicBezTo>
                    <a:pt x="6050" y="18147"/>
                    <a:pt x="8876" y="19059"/>
                    <a:pt x="11642" y="19606"/>
                  </a:cubicBezTo>
                  <a:cubicBezTo>
                    <a:pt x="10730" y="18937"/>
                    <a:pt x="9879" y="18268"/>
                    <a:pt x="9028" y="17539"/>
                  </a:cubicBezTo>
                  <a:cubicBezTo>
                    <a:pt x="7934" y="16627"/>
                    <a:pt x="6323" y="15745"/>
                    <a:pt x="5442" y="14621"/>
                  </a:cubicBezTo>
                  <a:cubicBezTo>
                    <a:pt x="3739" y="12463"/>
                    <a:pt x="3344" y="9727"/>
                    <a:pt x="2493" y="7113"/>
                  </a:cubicBezTo>
                  <a:cubicBezTo>
                    <a:pt x="1673" y="4712"/>
                    <a:pt x="791" y="2402"/>
                    <a:pt x="1" y="1"/>
                  </a:cubicBezTo>
                  <a:close/>
                </a:path>
              </a:pathLst>
            </a:custGeom>
            <a:solidFill>
              <a:srgbClr val="203E80">
                <a:alpha val="64709"/>
              </a:srgbClr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2" name="Google Shape;450;g191abe3b490_12_4485"/>
            <p:cNvSpPr/>
            <p:nvPr/>
          </p:nvSpPr>
          <p:spPr>
            <a:xfrm>
              <a:off x="5245800" y="1912375"/>
              <a:ext cx="209750" cy="45725"/>
            </a:xfrm>
            <a:custGeom>
              <a:avLst/>
              <a:ahLst/>
              <a:rect l="l" t="t" r="r" b="b"/>
              <a:pathLst>
                <a:path w="8390" h="1829" extrusionOk="0">
                  <a:moveTo>
                    <a:pt x="4442" y="1"/>
                  </a:moveTo>
                  <a:cubicBezTo>
                    <a:pt x="4292" y="1"/>
                    <a:pt x="4138" y="8"/>
                    <a:pt x="3983" y="23"/>
                  </a:cubicBezTo>
                  <a:cubicBezTo>
                    <a:pt x="2949" y="114"/>
                    <a:pt x="1916" y="448"/>
                    <a:pt x="1004" y="1026"/>
                  </a:cubicBezTo>
                  <a:cubicBezTo>
                    <a:pt x="639" y="1239"/>
                    <a:pt x="305" y="1512"/>
                    <a:pt x="1" y="1816"/>
                  </a:cubicBezTo>
                  <a:cubicBezTo>
                    <a:pt x="1" y="1825"/>
                    <a:pt x="3" y="1829"/>
                    <a:pt x="8" y="1829"/>
                  </a:cubicBezTo>
                  <a:cubicBezTo>
                    <a:pt x="18" y="1829"/>
                    <a:pt x="40" y="1807"/>
                    <a:pt x="61" y="1786"/>
                  </a:cubicBezTo>
                  <a:lnTo>
                    <a:pt x="274" y="1603"/>
                  </a:lnTo>
                  <a:cubicBezTo>
                    <a:pt x="517" y="1421"/>
                    <a:pt x="761" y="1239"/>
                    <a:pt x="1034" y="1056"/>
                  </a:cubicBezTo>
                  <a:cubicBezTo>
                    <a:pt x="1946" y="509"/>
                    <a:pt x="2949" y="205"/>
                    <a:pt x="4013" y="114"/>
                  </a:cubicBezTo>
                  <a:cubicBezTo>
                    <a:pt x="4175" y="98"/>
                    <a:pt x="4335" y="91"/>
                    <a:pt x="4492" y="91"/>
                  </a:cubicBezTo>
                  <a:cubicBezTo>
                    <a:pt x="5516" y="91"/>
                    <a:pt x="6432" y="388"/>
                    <a:pt x="7144" y="388"/>
                  </a:cubicBezTo>
                  <a:cubicBezTo>
                    <a:pt x="7448" y="388"/>
                    <a:pt x="7782" y="357"/>
                    <a:pt x="8086" y="236"/>
                  </a:cubicBezTo>
                  <a:cubicBezTo>
                    <a:pt x="8208" y="205"/>
                    <a:pt x="8299" y="144"/>
                    <a:pt x="8390" y="84"/>
                  </a:cubicBezTo>
                  <a:lnTo>
                    <a:pt x="8390" y="84"/>
                  </a:lnTo>
                  <a:cubicBezTo>
                    <a:pt x="8389" y="84"/>
                    <a:pt x="8297" y="145"/>
                    <a:pt x="8056" y="205"/>
                  </a:cubicBezTo>
                  <a:cubicBezTo>
                    <a:pt x="7830" y="280"/>
                    <a:pt x="7564" y="335"/>
                    <a:pt x="7308" y="335"/>
                  </a:cubicBezTo>
                  <a:cubicBezTo>
                    <a:pt x="7252" y="335"/>
                    <a:pt x="7198" y="332"/>
                    <a:pt x="7144" y="327"/>
                  </a:cubicBezTo>
                  <a:cubicBezTo>
                    <a:pt x="6426" y="327"/>
                    <a:pt x="5498" y="1"/>
                    <a:pt x="4442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3" name="Google Shape;451;g191abe3b490_12_4485"/>
            <p:cNvSpPr/>
            <p:nvPr/>
          </p:nvSpPr>
          <p:spPr>
            <a:xfrm>
              <a:off x="5229075" y="1843025"/>
              <a:ext cx="199125" cy="50175"/>
            </a:xfrm>
            <a:custGeom>
              <a:avLst/>
              <a:ahLst/>
              <a:rect l="l" t="t" r="r" b="b"/>
              <a:pathLst>
                <a:path w="7965" h="2007" extrusionOk="0">
                  <a:moveTo>
                    <a:pt x="7965" y="0"/>
                  </a:moveTo>
                  <a:cubicBezTo>
                    <a:pt x="7934" y="0"/>
                    <a:pt x="7904" y="31"/>
                    <a:pt x="7873" y="31"/>
                  </a:cubicBezTo>
                  <a:lnTo>
                    <a:pt x="7661" y="152"/>
                  </a:lnTo>
                  <a:cubicBezTo>
                    <a:pt x="7604" y="190"/>
                    <a:pt x="7538" y="231"/>
                    <a:pt x="7464" y="274"/>
                  </a:cubicBezTo>
                  <a:lnTo>
                    <a:pt x="7464" y="274"/>
                  </a:lnTo>
                  <a:cubicBezTo>
                    <a:pt x="7535" y="240"/>
                    <a:pt x="7600" y="209"/>
                    <a:pt x="7661" y="183"/>
                  </a:cubicBezTo>
                  <a:lnTo>
                    <a:pt x="7873" y="92"/>
                  </a:lnTo>
                  <a:cubicBezTo>
                    <a:pt x="7934" y="0"/>
                    <a:pt x="7965" y="0"/>
                    <a:pt x="7965" y="0"/>
                  </a:cubicBezTo>
                  <a:close/>
                  <a:moveTo>
                    <a:pt x="7464" y="274"/>
                  </a:moveTo>
                  <a:lnTo>
                    <a:pt x="7464" y="274"/>
                  </a:lnTo>
                  <a:cubicBezTo>
                    <a:pt x="7285" y="360"/>
                    <a:pt x="7071" y="469"/>
                    <a:pt x="6810" y="578"/>
                  </a:cubicBezTo>
                  <a:cubicBezTo>
                    <a:pt x="5898" y="973"/>
                    <a:pt x="4925" y="1307"/>
                    <a:pt x="3922" y="1551"/>
                  </a:cubicBezTo>
                  <a:cubicBezTo>
                    <a:pt x="2949" y="1794"/>
                    <a:pt x="1946" y="1915"/>
                    <a:pt x="913" y="1976"/>
                  </a:cubicBezTo>
                  <a:cubicBezTo>
                    <a:pt x="548" y="2007"/>
                    <a:pt x="214" y="2007"/>
                    <a:pt x="1" y="2007"/>
                  </a:cubicBezTo>
                  <a:lnTo>
                    <a:pt x="913" y="2007"/>
                  </a:lnTo>
                  <a:cubicBezTo>
                    <a:pt x="2980" y="1946"/>
                    <a:pt x="4986" y="1459"/>
                    <a:pt x="6840" y="578"/>
                  </a:cubicBezTo>
                  <a:cubicBezTo>
                    <a:pt x="7091" y="473"/>
                    <a:pt x="7299" y="369"/>
                    <a:pt x="7464" y="27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4" name="Google Shape;452;g191abe3b490_12_4485"/>
            <p:cNvSpPr/>
            <p:nvPr/>
          </p:nvSpPr>
          <p:spPr>
            <a:xfrm>
              <a:off x="5424375" y="1789825"/>
              <a:ext cx="214325" cy="130725"/>
            </a:xfrm>
            <a:custGeom>
              <a:avLst/>
              <a:ahLst/>
              <a:rect l="l" t="t" r="r" b="b"/>
              <a:pathLst>
                <a:path w="8573" h="5229" extrusionOk="0">
                  <a:moveTo>
                    <a:pt x="92" y="1"/>
                  </a:moveTo>
                  <a:cubicBezTo>
                    <a:pt x="92" y="1"/>
                    <a:pt x="91" y="1"/>
                    <a:pt x="91" y="1"/>
                  </a:cubicBezTo>
                  <a:lnTo>
                    <a:pt x="91" y="1"/>
                  </a:lnTo>
                  <a:cubicBezTo>
                    <a:pt x="93" y="1"/>
                    <a:pt x="94" y="1"/>
                    <a:pt x="95" y="1"/>
                  </a:cubicBezTo>
                  <a:lnTo>
                    <a:pt x="95" y="1"/>
                  </a:lnTo>
                  <a:lnTo>
                    <a:pt x="92" y="1"/>
                  </a:lnTo>
                  <a:close/>
                  <a:moveTo>
                    <a:pt x="1" y="1"/>
                  </a:moveTo>
                  <a:cubicBezTo>
                    <a:pt x="16" y="16"/>
                    <a:pt x="31" y="24"/>
                    <a:pt x="46" y="24"/>
                  </a:cubicBezTo>
                  <a:cubicBezTo>
                    <a:pt x="61" y="24"/>
                    <a:pt x="76" y="16"/>
                    <a:pt x="91" y="1"/>
                  </a:cubicBezTo>
                  <a:lnTo>
                    <a:pt x="91" y="1"/>
                  </a:lnTo>
                  <a:cubicBezTo>
                    <a:pt x="61" y="1"/>
                    <a:pt x="31" y="1"/>
                    <a:pt x="1" y="1"/>
                  </a:cubicBezTo>
                  <a:close/>
                  <a:moveTo>
                    <a:pt x="95" y="1"/>
                  </a:moveTo>
                  <a:lnTo>
                    <a:pt x="396" y="62"/>
                  </a:lnTo>
                  <a:cubicBezTo>
                    <a:pt x="1976" y="213"/>
                    <a:pt x="3496" y="852"/>
                    <a:pt x="4742" y="1824"/>
                  </a:cubicBezTo>
                  <a:cubicBezTo>
                    <a:pt x="5867" y="2736"/>
                    <a:pt x="6536" y="3891"/>
                    <a:pt x="7235" y="4499"/>
                  </a:cubicBezTo>
                  <a:cubicBezTo>
                    <a:pt x="7508" y="4742"/>
                    <a:pt x="7843" y="4955"/>
                    <a:pt x="8177" y="5107"/>
                  </a:cubicBezTo>
                  <a:cubicBezTo>
                    <a:pt x="8268" y="5138"/>
                    <a:pt x="8359" y="5168"/>
                    <a:pt x="8451" y="5198"/>
                  </a:cubicBezTo>
                  <a:lnTo>
                    <a:pt x="8496" y="5210"/>
                  </a:lnTo>
                  <a:lnTo>
                    <a:pt x="8496" y="5210"/>
                  </a:lnTo>
                  <a:cubicBezTo>
                    <a:pt x="8431" y="5192"/>
                    <a:pt x="8329" y="5159"/>
                    <a:pt x="8208" y="5107"/>
                  </a:cubicBezTo>
                  <a:cubicBezTo>
                    <a:pt x="7873" y="4955"/>
                    <a:pt x="7569" y="4742"/>
                    <a:pt x="7296" y="4469"/>
                  </a:cubicBezTo>
                  <a:cubicBezTo>
                    <a:pt x="6901" y="4104"/>
                    <a:pt x="6536" y="3679"/>
                    <a:pt x="6201" y="3253"/>
                  </a:cubicBezTo>
                  <a:cubicBezTo>
                    <a:pt x="5806" y="2706"/>
                    <a:pt x="5320" y="2220"/>
                    <a:pt x="4803" y="1794"/>
                  </a:cubicBezTo>
                  <a:cubicBezTo>
                    <a:pt x="3831" y="1034"/>
                    <a:pt x="2706" y="487"/>
                    <a:pt x="1520" y="183"/>
                  </a:cubicBezTo>
                  <a:cubicBezTo>
                    <a:pt x="1064" y="69"/>
                    <a:pt x="580" y="8"/>
                    <a:pt x="95" y="1"/>
                  </a:cubicBezTo>
                  <a:close/>
                  <a:moveTo>
                    <a:pt x="8496" y="5210"/>
                  </a:moveTo>
                  <a:lnTo>
                    <a:pt x="8496" y="5210"/>
                  </a:lnTo>
                  <a:cubicBezTo>
                    <a:pt x="8544" y="5223"/>
                    <a:pt x="8572" y="5229"/>
                    <a:pt x="8572" y="5229"/>
                  </a:cubicBezTo>
                  <a:lnTo>
                    <a:pt x="8496" y="521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5" name="Google Shape;453;g191abe3b490_12_4485"/>
            <p:cNvSpPr/>
            <p:nvPr/>
          </p:nvSpPr>
          <p:spPr>
            <a:xfrm>
              <a:off x="5448700" y="1880625"/>
              <a:ext cx="178600" cy="85525"/>
            </a:xfrm>
            <a:custGeom>
              <a:avLst/>
              <a:ahLst/>
              <a:rect l="l" t="t" r="r" b="b"/>
              <a:pathLst>
                <a:path w="7144" h="3421" extrusionOk="0">
                  <a:moveTo>
                    <a:pt x="1873" y="1"/>
                  </a:moveTo>
                  <a:cubicBezTo>
                    <a:pt x="1649" y="1"/>
                    <a:pt x="1429" y="16"/>
                    <a:pt x="1216" y="47"/>
                  </a:cubicBezTo>
                  <a:cubicBezTo>
                    <a:pt x="821" y="77"/>
                    <a:pt x="517" y="138"/>
                    <a:pt x="335" y="168"/>
                  </a:cubicBezTo>
                  <a:lnTo>
                    <a:pt x="92" y="229"/>
                  </a:lnTo>
                  <a:cubicBezTo>
                    <a:pt x="61" y="229"/>
                    <a:pt x="31" y="229"/>
                    <a:pt x="0" y="259"/>
                  </a:cubicBezTo>
                  <a:lnTo>
                    <a:pt x="92" y="259"/>
                  </a:lnTo>
                  <a:lnTo>
                    <a:pt x="335" y="229"/>
                  </a:lnTo>
                  <a:cubicBezTo>
                    <a:pt x="547" y="199"/>
                    <a:pt x="851" y="138"/>
                    <a:pt x="1216" y="107"/>
                  </a:cubicBezTo>
                  <a:cubicBezTo>
                    <a:pt x="1405" y="95"/>
                    <a:pt x="1589" y="87"/>
                    <a:pt x="1769" y="87"/>
                  </a:cubicBezTo>
                  <a:cubicBezTo>
                    <a:pt x="2025" y="87"/>
                    <a:pt x="2274" y="102"/>
                    <a:pt x="2523" y="138"/>
                  </a:cubicBezTo>
                  <a:cubicBezTo>
                    <a:pt x="3070" y="199"/>
                    <a:pt x="3587" y="411"/>
                    <a:pt x="3982" y="776"/>
                  </a:cubicBezTo>
                  <a:cubicBezTo>
                    <a:pt x="4408" y="1110"/>
                    <a:pt x="4803" y="1475"/>
                    <a:pt x="5137" y="1901"/>
                  </a:cubicBezTo>
                  <a:cubicBezTo>
                    <a:pt x="5411" y="2235"/>
                    <a:pt x="5745" y="2569"/>
                    <a:pt x="6079" y="2843"/>
                  </a:cubicBezTo>
                  <a:cubicBezTo>
                    <a:pt x="6292" y="3056"/>
                    <a:pt x="6566" y="3208"/>
                    <a:pt x="6839" y="3329"/>
                  </a:cubicBezTo>
                  <a:cubicBezTo>
                    <a:pt x="6931" y="3360"/>
                    <a:pt x="7052" y="3390"/>
                    <a:pt x="7143" y="3420"/>
                  </a:cubicBezTo>
                  <a:cubicBezTo>
                    <a:pt x="7143" y="3420"/>
                    <a:pt x="7052" y="3360"/>
                    <a:pt x="6870" y="3299"/>
                  </a:cubicBezTo>
                  <a:cubicBezTo>
                    <a:pt x="6596" y="3177"/>
                    <a:pt x="6353" y="2995"/>
                    <a:pt x="6110" y="2813"/>
                  </a:cubicBezTo>
                  <a:cubicBezTo>
                    <a:pt x="5776" y="2509"/>
                    <a:pt x="5472" y="2205"/>
                    <a:pt x="5198" y="1870"/>
                  </a:cubicBezTo>
                  <a:cubicBezTo>
                    <a:pt x="4864" y="1414"/>
                    <a:pt x="4469" y="1050"/>
                    <a:pt x="4073" y="685"/>
                  </a:cubicBezTo>
                  <a:cubicBezTo>
                    <a:pt x="3617" y="351"/>
                    <a:pt x="3101" y="107"/>
                    <a:pt x="2554" y="47"/>
                  </a:cubicBezTo>
                  <a:cubicBezTo>
                    <a:pt x="2326" y="16"/>
                    <a:pt x="2098" y="1"/>
                    <a:pt x="187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6" name="Google Shape;454;g191abe3b490_12_4485"/>
            <p:cNvSpPr/>
            <p:nvPr/>
          </p:nvSpPr>
          <p:spPr>
            <a:xfrm>
              <a:off x="5633350" y="1932400"/>
              <a:ext cx="139850" cy="28500"/>
            </a:xfrm>
            <a:custGeom>
              <a:avLst/>
              <a:ahLst/>
              <a:rect l="l" t="t" r="r" b="b"/>
              <a:pathLst>
                <a:path w="5594" h="1140" extrusionOk="0">
                  <a:moveTo>
                    <a:pt x="5307" y="53"/>
                  </a:moveTo>
                  <a:lnTo>
                    <a:pt x="5307" y="53"/>
                  </a:lnTo>
                  <a:cubicBezTo>
                    <a:pt x="5331" y="59"/>
                    <a:pt x="5356" y="66"/>
                    <a:pt x="5381" y="73"/>
                  </a:cubicBezTo>
                  <a:cubicBezTo>
                    <a:pt x="5441" y="73"/>
                    <a:pt x="5502" y="103"/>
                    <a:pt x="5593" y="103"/>
                  </a:cubicBezTo>
                  <a:cubicBezTo>
                    <a:pt x="5501" y="83"/>
                    <a:pt x="5404" y="66"/>
                    <a:pt x="5307" y="53"/>
                  </a:cubicBezTo>
                  <a:close/>
                  <a:moveTo>
                    <a:pt x="0" y="802"/>
                  </a:moveTo>
                  <a:cubicBezTo>
                    <a:pt x="16" y="812"/>
                    <a:pt x="31" y="821"/>
                    <a:pt x="46" y="830"/>
                  </a:cubicBezTo>
                  <a:lnTo>
                    <a:pt x="46" y="830"/>
                  </a:lnTo>
                  <a:cubicBezTo>
                    <a:pt x="31" y="820"/>
                    <a:pt x="16" y="810"/>
                    <a:pt x="0" y="802"/>
                  </a:cubicBezTo>
                  <a:close/>
                  <a:moveTo>
                    <a:pt x="4913" y="0"/>
                  </a:moveTo>
                  <a:cubicBezTo>
                    <a:pt x="4856" y="0"/>
                    <a:pt x="4799" y="4"/>
                    <a:pt x="4742" y="12"/>
                  </a:cubicBezTo>
                  <a:cubicBezTo>
                    <a:pt x="4438" y="12"/>
                    <a:pt x="4134" y="73"/>
                    <a:pt x="3830" y="194"/>
                  </a:cubicBezTo>
                  <a:cubicBezTo>
                    <a:pt x="3496" y="316"/>
                    <a:pt x="3162" y="468"/>
                    <a:pt x="2767" y="620"/>
                  </a:cubicBezTo>
                  <a:cubicBezTo>
                    <a:pt x="2432" y="802"/>
                    <a:pt x="2067" y="924"/>
                    <a:pt x="1703" y="1015"/>
                  </a:cubicBezTo>
                  <a:cubicBezTo>
                    <a:pt x="1480" y="1060"/>
                    <a:pt x="1258" y="1088"/>
                    <a:pt x="1035" y="1088"/>
                  </a:cubicBezTo>
                  <a:cubicBezTo>
                    <a:pt x="954" y="1088"/>
                    <a:pt x="872" y="1084"/>
                    <a:pt x="791" y="1076"/>
                  </a:cubicBezTo>
                  <a:cubicBezTo>
                    <a:pt x="534" y="1047"/>
                    <a:pt x="278" y="966"/>
                    <a:pt x="46" y="830"/>
                  </a:cubicBezTo>
                  <a:lnTo>
                    <a:pt x="46" y="830"/>
                  </a:lnTo>
                  <a:cubicBezTo>
                    <a:pt x="92" y="861"/>
                    <a:pt x="137" y="901"/>
                    <a:pt x="183" y="924"/>
                  </a:cubicBezTo>
                  <a:cubicBezTo>
                    <a:pt x="365" y="1015"/>
                    <a:pt x="578" y="1076"/>
                    <a:pt x="791" y="1106"/>
                  </a:cubicBezTo>
                  <a:cubicBezTo>
                    <a:pt x="907" y="1130"/>
                    <a:pt x="1023" y="1139"/>
                    <a:pt x="1139" y="1139"/>
                  </a:cubicBezTo>
                  <a:cubicBezTo>
                    <a:pt x="1327" y="1139"/>
                    <a:pt x="1515" y="1114"/>
                    <a:pt x="1703" y="1076"/>
                  </a:cubicBezTo>
                  <a:cubicBezTo>
                    <a:pt x="2098" y="985"/>
                    <a:pt x="2432" y="833"/>
                    <a:pt x="2797" y="681"/>
                  </a:cubicBezTo>
                  <a:cubicBezTo>
                    <a:pt x="3162" y="529"/>
                    <a:pt x="3526" y="346"/>
                    <a:pt x="3830" y="225"/>
                  </a:cubicBezTo>
                  <a:cubicBezTo>
                    <a:pt x="4134" y="134"/>
                    <a:pt x="4438" y="73"/>
                    <a:pt x="4742" y="42"/>
                  </a:cubicBezTo>
                  <a:cubicBezTo>
                    <a:pt x="4816" y="34"/>
                    <a:pt x="4891" y="31"/>
                    <a:pt x="4968" y="31"/>
                  </a:cubicBezTo>
                  <a:cubicBezTo>
                    <a:pt x="5080" y="31"/>
                    <a:pt x="5194" y="39"/>
                    <a:pt x="5307" y="53"/>
                  </a:cubicBezTo>
                  <a:lnTo>
                    <a:pt x="5307" y="53"/>
                  </a:lnTo>
                  <a:cubicBezTo>
                    <a:pt x="5176" y="20"/>
                    <a:pt x="5044" y="0"/>
                    <a:pt x="491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7" name="Google Shape;455;g191abe3b490_12_4485"/>
            <p:cNvSpPr/>
            <p:nvPr/>
          </p:nvSpPr>
          <p:spPr>
            <a:xfrm>
              <a:off x="5609800" y="1976000"/>
              <a:ext cx="177825" cy="54175"/>
            </a:xfrm>
            <a:custGeom>
              <a:avLst/>
              <a:ahLst/>
              <a:rect l="l" t="t" r="r" b="b"/>
              <a:pathLst>
                <a:path w="7113" h="2167" extrusionOk="0">
                  <a:moveTo>
                    <a:pt x="6079" y="1"/>
                  </a:moveTo>
                  <a:cubicBezTo>
                    <a:pt x="5654" y="1"/>
                    <a:pt x="5259" y="61"/>
                    <a:pt x="4864" y="213"/>
                  </a:cubicBezTo>
                  <a:cubicBezTo>
                    <a:pt x="4377" y="426"/>
                    <a:pt x="3952" y="669"/>
                    <a:pt x="3557" y="973"/>
                  </a:cubicBezTo>
                  <a:cubicBezTo>
                    <a:pt x="3131" y="1277"/>
                    <a:pt x="2705" y="1551"/>
                    <a:pt x="2280" y="1764"/>
                  </a:cubicBezTo>
                  <a:cubicBezTo>
                    <a:pt x="1915" y="1946"/>
                    <a:pt x="1520" y="2068"/>
                    <a:pt x="1094" y="2098"/>
                  </a:cubicBezTo>
                  <a:cubicBezTo>
                    <a:pt x="1035" y="2103"/>
                    <a:pt x="975" y="2105"/>
                    <a:pt x="915" y="2105"/>
                  </a:cubicBezTo>
                  <a:cubicBezTo>
                    <a:pt x="603" y="2105"/>
                    <a:pt x="280" y="2038"/>
                    <a:pt x="0" y="1885"/>
                  </a:cubicBezTo>
                  <a:lnTo>
                    <a:pt x="0" y="1885"/>
                  </a:lnTo>
                  <a:cubicBezTo>
                    <a:pt x="91" y="1946"/>
                    <a:pt x="183" y="2007"/>
                    <a:pt x="274" y="2037"/>
                  </a:cubicBezTo>
                  <a:cubicBezTo>
                    <a:pt x="499" y="2112"/>
                    <a:pt x="724" y="2167"/>
                    <a:pt x="949" y="2167"/>
                  </a:cubicBezTo>
                  <a:cubicBezTo>
                    <a:pt x="998" y="2167"/>
                    <a:pt x="1046" y="2164"/>
                    <a:pt x="1094" y="2159"/>
                  </a:cubicBezTo>
                  <a:cubicBezTo>
                    <a:pt x="1520" y="2128"/>
                    <a:pt x="1915" y="2037"/>
                    <a:pt x="2310" y="1855"/>
                  </a:cubicBezTo>
                  <a:cubicBezTo>
                    <a:pt x="2736" y="1612"/>
                    <a:pt x="3192" y="1338"/>
                    <a:pt x="3587" y="1034"/>
                  </a:cubicBezTo>
                  <a:cubicBezTo>
                    <a:pt x="3982" y="730"/>
                    <a:pt x="4438" y="487"/>
                    <a:pt x="4894" y="274"/>
                  </a:cubicBezTo>
                  <a:cubicBezTo>
                    <a:pt x="5259" y="122"/>
                    <a:pt x="5654" y="61"/>
                    <a:pt x="6079" y="61"/>
                  </a:cubicBezTo>
                  <a:cubicBezTo>
                    <a:pt x="6444" y="92"/>
                    <a:pt x="6809" y="213"/>
                    <a:pt x="7113" y="426"/>
                  </a:cubicBezTo>
                  <a:cubicBezTo>
                    <a:pt x="7052" y="365"/>
                    <a:pt x="6961" y="305"/>
                    <a:pt x="6870" y="244"/>
                  </a:cubicBezTo>
                  <a:cubicBezTo>
                    <a:pt x="6626" y="92"/>
                    <a:pt x="6353" y="31"/>
                    <a:pt x="6079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8" name="Google Shape;456;g191abe3b490_12_4485"/>
            <p:cNvSpPr/>
            <p:nvPr/>
          </p:nvSpPr>
          <p:spPr>
            <a:xfrm>
              <a:off x="5608275" y="1897725"/>
              <a:ext cx="47900" cy="242450"/>
            </a:xfrm>
            <a:custGeom>
              <a:avLst/>
              <a:ahLst/>
              <a:rect l="l" t="t" r="r" b="b"/>
              <a:pathLst>
                <a:path w="1916" h="9698" extrusionOk="0">
                  <a:moveTo>
                    <a:pt x="1915" y="1"/>
                  </a:moveTo>
                  <a:lnTo>
                    <a:pt x="1915" y="1"/>
                  </a:lnTo>
                  <a:cubicBezTo>
                    <a:pt x="1642" y="1126"/>
                    <a:pt x="943" y="2098"/>
                    <a:pt x="517" y="3162"/>
                  </a:cubicBezTo>
                  <a:cubicBezTo>
                    <a:pt x="304" y="3679"/>
                    <a:pt x="0" y="4621"/>
                    <a:pt x="0" y="4621"/>
                  </a:cubicBezTo>
                  <a:lnTo>
                    <a:pt x="852" y="9606"/>
                  </a:lnTo>
                  <a:lnTo>
                    <a:pt x="882" y="9697"/>
                  </a:lnTo>
                  <a:cubicBezTo>
                    <a:pt x="1642" y="6566"/>
                    <a:pt x="1794" y="3223"/>
                    <a:pt x="1915" y="1"/>
                  </a:cubicBezTo>
                  <a:close/>
                </a:path>
              </a:pathLst>
            </a:custGeom>
            <a:solidFill>
              <a:srgbClr val="203E80">
                <a:alpha val="64709"/>
              </a:srgbClr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79" name="Google Shape;457;g191abe3b490_12_4485"/>
            <p:cNvSpPr/>
            <p:nvPr/>
          </p:nvSpPr>
          <p:spPr>
            <a:xfrm>
              <a:off x="5438050" y="1225225"/>
              <a:ext cx="66900" cy="145925"/>
            </a:xfrm>
            <a:custGeom>
              <a:avLst/>
              <a:ahLst/>
              <a:rect l="l" t="t" r="r" b="b"/>
              <a:pathLst>
                <a:path w="2676" h="5837" extrusionOk="0">
                  <a:moveTo>
                    <a:pt x="2676" y="1"/>
                  </a:moveTo>
                  <a:lnTo>
                    <a:pt x="2638" y="172"/>
                  </a:lnTo>
                  <a:lnTo>
                    <a:pt x="2638" y="172"/>
                  </a:lnTo>
                  <a:cubicBezTo>
                    <a:pt x="2654" y="116"/>
                    <a:pt x="2666" y="59"/>
                    <a:pt x="2676" y="1"/>
                  </a:cubicBezTo>
                  <a:close/>
                  <a:moveTo>
                    <a:pt x="2638" y="172"/>
                  </a:moveTo>
                  <a:cubicBezTo>
                    <a:pt x="2497" y="673"/>
                    <a:pt x="2104" y="1083"/>
                    <a:pt x="1612" y="1247"/>
                  </a:cubicBezTo>
                  <a:cubicBezTo>
                    <a:pt x="1308" y="1338"/>
                    <a:pt x="943" y="1338"/>
                    <a:pt x="639" y="1460"/>
                  </a:cubicBezTo>
                  <a:cubicBezTo>
                    <a:pt x="335" y="1551"/>
                    <a:pt x="92" y="1855"/>
                    <a:pt x="122" y="2220"/>
                  </a:cubicBezTo>
                  <a:cubicBezTo>
                    <a:pt x="183" y="2463"/>
                    <a:pt x="396" y="2615"/>
                    <a:pt x="578" y="2767"/>
                  </a:cubicBezTo>
                  <a:cubicBezTo>
                    <a:pt x="761" y="2919"/>
                    <a:pt x="943" y="3192"/>
                    <a:pt x="821" y="3405"/>
                  </a:cubicBezTo>
                  <a:cubicBezTo>
                    <a:pt x="730" y="3618"/>
                    <a:pt x="366" y="3679"/>
                    <a:pt x="183" y="3891"/>
                  </a:cubicBezTo>
                  <a:cubicBezTo>
                    <a:pt x="1" y="4104"/>
                    <a:pt x="31" y="4439"/>
                    <a:pt x="214" y="4651"/>
                  </a:cubicBezTo>
                  <a:cubicBezTo>
                    <a:pt x="426" y="4864"/>
                    <a:pt x="639" y="5046"/>
                    <a:pt x="882" y="5198"/>
                  </a:cubicBezTo>
                  <a:cubicBezTo>
                    <a:pt x="1156" y="5320"/>
                    <a:pt x="1338" y="5563"/>
                    <a:pt x="1399" y="5837"/>
                  </a:cubicBezTo>
                  <a:lnTo>
                    <a:pt x="2638" y="172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0" name="Google Shape;458;g191abe3b490_12_4485"/>
            <p:cNvSpPr/>
            <p:nvPr/>
          </p:nvSpPr>
          <p:spPr>
            <a:xfrm>
              <a:off x="5469225" y="1140325"/>
              <a:ext cx="338175" cy="290100"/>
            </a:xfrm>
            <a:custGeom>
              <a:avLst/>
              <a:ahLst/>
              <a:rect l="l" t="t" r="r" b="b"/>
              <a:pathLst>
                <a:path w="13527" h="11604" extrusionOk="0">
                  <a:moveTo>
                    <a:pt x="6136" y="0"/>
                  </a:moveTo>
                  <a:cubicBezTo>
                    <a:pt x="5996" y="0"/>
                    <a:pt x="5866" y="38"/>
                    <a:pt x="5775" y="144"/>
                  </a:cubicBezTo>
                  <a:cubicBezTo>
                    <a:pt x="5623" y="357"/>
                    <a:pt x="5623" y="631"/>
                    <a:pt x="5806" y="813"/>
                  </a:cubicBezTo>
                  <a:cubicBezTo>
                    <a:pt x="5893" y="901"/>
                    <a:pt x="5988" y="974"/>
                    <a:pt x="6089" y="1037"/>
                  </a:cubicBezTo>
                  <a:lnTo>
                    <a:pt x="6089" y="1037"/>
                  </a:lnTo>
                  <a:cubicBezTo>
                    <a:pt x="5430" y="743"/>
                    <a:pt x="4728" y="565"/>
                    <a:pt x="3982" y="540"/>
                  </a:cubicBezTo>
                  <a:cubicBezTo>
                    <a:pt x="3936" y="535"/>
                    <a:pt x="3890" y="532"/>
                    <a:pt x="3843" y="532"/>
                  </a:cubicBezTo>
                  <a:cubicBezTo>
                    <a:pt x="3608" y="532"/>
                    <a:pt x="3359" y="595"/>
                    <a:pt x="3131" y="722"/>
                  </a:cubicBezTo>
                  <a:cubicBezTo>
                    <a:pt x="2857" y="874"/>
                    <a:pt x="2736" y="1178"/>
                    <a:pt x="2796" y="1482"/>
                  </a:cubicBezTo>
                  <a:cubicBezTo>
                    <a:pt x="2824" y="1575"/>
                    <a:pt x="2880" y="1650"/>
                    <a:pt x="2952" y="1706"/>
                  </a:cubicBezTo>
                  <a:lnTo>
                    <a:pt x="2952" y="1706"/>
                  </a:lnTo>
                  <a:cubicBezTo>
                    <a:pt x="2329" y="1733"/>
                    <a:pt x="1728" y="1916"/>
                    <a:pt x="1216" y="2242"/>
                  </a:cubicBezTo>
                  <a:cubicBezTo>
                    <a:pt x="730" y="2576"/>
                    <a:pt x="274" y="3093"/>
                    <a:pt x="395" y="3670"/>
                  </a:cubicBezTo>
                  <a:cubicBezTo>
                    <a:pt x="517" y="3974"/>
                    <a:pt x="669" y="4309"/>
                    <a:pt x="821" y="4582"/>
                  </a:cubicBezTo>
                  <a:cubicBezTo>
                    <a:pt x="1033" y="5190"/>
                    <a:pt x="730" y="5828"/>
                    <a:pt x="517" y="6406"/>
                  </a:cubicBezTo>
                  <a:cubicBezTo>
                    <a:pt x="122" y="7287"/>
                    <a:pt x="0" y="8260"/>
                    <a:pt x="122" y="9233"/>
                  </a:cubicBezTo>
                  <a:cubicBezTo>
                    <a:pt x="243" y="10205"/>
                    <a:pt x="821" y="11087"/>
                    <a:pt x="1641" y="11604"/>
                  </a:cubicBezTo>
                  <a:lnTo>
                    <a:pt x="12675" y="8321"/>
                  </a:lnTo>
                  <a:cubicBezTo>
                    <a:pt x="13526" y="6558"/>
                    <a:pt x="12918" y="4339"/>
                    <a:pt x="11611" y="2880"/>
                  </a:cubicBezTo>
                  <a:cubicBezTo>
                    <a:pt x="10304" y="1421"/>
                    <a:pt x="8420" y="600"/>
                    <a:pt x="6565" y="84"/>
                  </a:cubicBezTo>
                  <a:cubicBezTo>
                    <a:pt x="6429" y="38"/>
                    <a:pt x="6277" y="0"/>
                    <a:pt x="613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1" name="Google Shape;459;g191abe3b490_12_4485"/>
            <p:cNvSpPr/>
            <p:nvPr/>
          </p:nvSpPr>
          <p:spPr>
            <a:xfrm>
              <a:off x="5411450" y="1200550"/>
              <a:ext cx="390625" cy="523400"/>
            </a:xfrm>
            <a:custGeom>
              <a:avLst/>
              <a:ahLst/>
              <a:rect l="l" t="t" r="r" b="b"/>
              <a:pathLst>
                <a:path w="15625" h="20936" extrusionOk="0">
                  <a:moveTo>
                    <a:pt x="9519" y="1"/>
                  </a:moveTo>
                  <a:cubicBezTo>
                    <a:pt x="7054" y="1"/>
                    <a:pt x="4782" y="1640"/>
                    <a:pt x="4104" y="4149"/>
                  </a:cubicBezTo>
                  <a:lnTo>
                    <a:pt x="609" y="15942"/>
                  </a:lnTo>
                  <a:cubicBezTo>
                    <a:pt x="1" y="18040"/>
                    <a:pt x="1217" y="20228"/>
                    <a:pt x="3344" y="20806"/>
                  </a:cubicBezTo>
                  <a:cubicBezTo>
                    <a:pt x="3680" y="20893"/>
                    <a:pt x="4017" y="20936"/>
                    <a:pt x="4349" y="20936"/>
                  </a:cubicBezTo>
                  <a:cubicBezTo>
                    <a:pt x="5973" y="20936"/>
                    <a:pt x="7470" y="19928"/>
                    <a:pt x="8025" y="18313"/>
                  </a:cubicBezTo>
                  <a:lnTo>
                    <a:pt x="8755" y="16216"/>
                  </a:lnTo>
                  <a:cubicBezTo>
                    <a:pt x="8755" y="16216"/>
                    <a:pt x="9008" y="16265"/>
                    <a:pt x="9393" y="16265"/>
                  </a:cubicBezTo>
                  <a:cubicBezTo>
                    <a:pt x="10334" y="16265"/>
                    <a:pt x="12064" y="15974"/>
                    <a:pt x="12798" y="13967"/>
                  </a:cubicBezTo>
                  <a:cubicBezTo>
                    <a:pt x="13314" y="12599"/>
                    <a:pt x="14165" y="9711"/>
                    <a:pt x="14864" y="7097"/>
                  </a:cubicBezTo>
                  <a:cubicBezTo>
                    <a:pt x="15624" y="4271"/>
                    <a:pt x="14105" y="1322"/>
                    <a:pt x="11369" y="319"/>
                  </a:cubicBezTo>
                  <a:lnTo>
                    <a:pt x="11095" y="228"/>
                  </a:lnTo>
                  <a:cubicBezTo>
                    <a:pt x="10570" y="74"/>
                    <a:pt x="10040" y="1"/>
                    <a:pt x="9519" y="1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2" name="Google Shape;460;g191abe3b490_12_4485"/>
            <p:cNvSpPr/>
            <p:nvPr/>
          </p:nvSpPr>
          <p:spPr>
            <a:xfrm>
              <a:off x="5548250" y="1545150"/>
              <a:ext cx="82850" cy="78300"/>
            </a:xfrm>
            <a:custGeom>
              <a:avLst/>
              <a:ahLst/>
              <a:rect l="l" t="t" r="r" b="b"/>
              <a:pathLst>
                <a:path w="3314" h="3132" extrusionOk="0">
                  <a:moveTo>
                    <a:pt x="0" y="0"/>
                  </a:moveTo>
                  <a:cubicBezTo>
                    <a:pt x="0" y="1"/>
                    <a:pt x="122" y="2371"/>
                    <a:pt x="3040" y="3131"/>
                  </a:cubicBezTo>
                  <a:lnTo>
                    <a:pt x="3313" y="2402"/>
                  </a:lnTo>
                  <a:cubicBezTo>
                    <a:pt x="1976" y="1946"/>
                    <a:pt x="821" y="1095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3" name="Google Shape;461;g191abe3b490_12_4485"/>
            <p:cNvSpPr/>
            <p:nvPr/>
          </p:nvSpPr>
          <p:spPr>
            <a:xfrm>
              <a:off x="5488200" y="1192750"/>
              <a:ext cx="129225" cy="204800"/>
            </a:xfrm>
            <a:custGeom>
              <a:avLst/>
              <a:ahLst/>
              <a:rect l="l" t="t" r="r" b="b"/>
              <a:pathLst>
                <a:path w="5169" h="8192" extrusionOk="0">
                  <a:moveTo>
                    <a:pt x="3523" y="0"/>
                  </a:moveTo>
                  <a:cubicBezTo>
                    <a:pt x="3246" y="0"/>
                    <a:pt x="2949" y="69"/>
                    <a:pt x="2676" y="145"/>
                  </a:cubicBezTo>
                  <a:cubicBezTo>
                    <a:pt x="2098" y="297"/>
                    <a:pt x="1673" y="722"/>
                    <a:pt x="1460" y="1269"/>
                  </a:cubicBezTo>
                  <a:cubicBezTo>
                    <a:pt x="700" y="3336"/>
                    <a:pt x="639" y="5251"/>
                    <a:pt x="62" y="7257"/>
                  </a:cubicBezTo>
                  <a:cubicBezTo>
                    <a:pt x="31" y="7379"/>
                    <a:pt x="1" y="7531"/>
                    <a:pt x="31" y="7683"/>
                  </a:cubicBezTo>
                  <a:cubicBezTo>
                    <a:pt x="153" y="8017"/>
                    <a:pt x="518" y="8139"/>
                    <a:pt x="882" y="8169"/>
                  </a:cubicBezTo>
                  <a:cubicBezTo>
                    <a:pt x="968" y="8184"/>
                    <a:pt x="1049" y="8192"/>
                    <a:pt x="1127" y="8192"/>
                  </a:cubicBezTo>
                  <a:cubicBezTo>
                    <a:pt x="1824" y="8192"/>
                    <a:pt x="2229" y="7607"/>
                    <a:pt x="2585" y="6923"/>
                  </a:cubicBezTo>
                  <a:cubicBezTo>
                    <a:pt x="2737" y="6437"/>
                    <a:pt x="2828" y="5981"/>
                    <a:pt x="2889" y="5494"/>
                  </a:cubicBezTo>
                  <a:cubicBezTo>
                    <a:pt x="3010" y="4127"/>
                    <a:pt x="3800" y="2911"/>
                    <a:pt x="5047" y="2333"/>
                  </a:cubicBezTo>
                  <a:lnTo>
                    <a:pt x="5168" y="2272"/>
                  </a:lnTo>
                  <a:cubicBezTo>
                    <a:pt x="4925" y="1756"/>
                    <a:pt x="4651" y="662"/>
                    <a:pt x="4256" y="266"/>
                  </a:cubicBezTo>
                  <a:cubicBezTo>
                    <a:pt x="4059" y="69"/>
                    <a:pt x="3800" y="0"/>
                    <a:pt x="352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4" name="Google Shape;462;g191abe3b490_12_4485"/>
            <p:cNvSpPr/>
            <p:nvPr/>
          </p:nvSpPr>
          <p:spPr>
            <a:xfrm>
              <a:off x="5452300" y="1334000"/>
              <a:ext cx="73925" cy="81425"/>
            </a:xfrm>
            <a:custGeom>
              <a:avLst/>
              <a:ahLst/>
              <a:rect l="l" t="t" r="r" b="b"/>
              <a:pathLst>
                <a:path w="2957" h="3257" extrusionOk="0">
                  <a:moveTo>
                    <a:pt x="1801" y="1"/>
                  </a:moveTo>
                  <a:cubicBezTo>
                    <a:pt x="1345" y="1"/>
                    <a:pt x="864" y="242"/>
                    <a:pt x="586" y="1091"/>
                  </a:cubicBezTo>
                  <a:cubicBezTo>
                    <a:pt x="1" y="2901"/>
                    <a:pt x="1713" y="3257"/>
                    <a:pt x="2027" y="3257"/>
                  </a:cubicBezTo>
                  <a:cubicBezTo>
                    <a:pt x="2056" y="3257"/>
                    <a:pt x="2073" y="3254"/>
                    <a:pt x="2075" y="3249"/>
                  </a:cubicBezTo>
                  <a:cubicBezTo>
                    <a:pt x="2075" y="3188"/>
                    <a:pt x="2957" y="422"/>
                    <a:pt x="2957" y="422"/>
                  </a:cubicBezTo>
                  <a:cubicBezTo>
                    <a:pt x="2940" y="405"/>
                    <a:pt x="2391" y="1"/>
                    <a:pt x="1801" y="1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5" name="Google Shape;463;g191abe3b490_12_4485"/>
            <p:cNvSpPr/>
            <p:nvPr/>
          </p:nvSpPr>
          <p:spPr>
            <a:xfrm>
              <a:off x="5475300" y="1349850"/>
              <a:ext cx="28125" cy="44550"/>
            </a:xfrm>
            <a:custGeom>
              <a:avLst/>
              <a:ahLst/>
              <a:rect l="l" t="t" r="r" b="b"/>
              <a:pathLst>
                <a:path w="1125" h="1782" extrusionOk="0">
                  <a:moveTo>
                    <a:pt x="912" y="1"/>
                  </a:moveTo>
                  <a:cubicBezTo>
                    <a:pt x="730" y="1"/>
                    <a:pt x="547" y="61"/>
                    <a:pt x="456" y="213"/>
                  </a:cubicBezTo>
                  <a:cubicBezTo>
                    <a:pt x="304" y="335"/>
                    <a:pt x="213" y="517"/>
                    <a:pt x="152" y="700"/>
                  </a:cubicBezTo>
                  <a:cubicBezTo>
                    <a:pt x="0" y="1065"/>
                    <a:pt x="91" y="1460"/>
                    <a:pt x="365" y="1703"/>
                  </a:cubicBezTo>
                  <a:cubicBezTo>
                    <a:pt x="423" y="1761"/>
                    <a:pt x="493" y="1782"/>
                    <a:pt x="567" y="1782"/>
                  </a:cubicBezTo>
                  <a:cubicBezTo>
                    <a:pt x="610" y="1782"/>
                    <a:pt x="655" y="1775"/>
                    <a:pt x="699" y="1764"/>
                  </a:cubicBezTo>
                  <a:cubicBezTo>
                    <a:pt x="760" y="1733"/>
                    <a:pt x="790" y="1703"/>
                    <a:pt x="790" y="1703"/>
                  </a:cubicBezTo>
                  <a:lnTo>
                    <a:pt x="669" y="1703"/>
                  </a:lnTo>
                  <a:cubicBezTo>
                    <a:pt x="578" y="1703"/>
                    <a:pt x="487" y="1703"/>
                    <a:pt x="426" y="1642"/>
                  </a:cubicBezTo>
                  <a:cubicBezTo>
                    <a:pt x="213" y="1368"/>
                    <a:pt x="152" y="1034"/>
                    <a:pt x="274" y="761"/>
                  </a:cubicBezTo>
                  <a:cubicBezTo>
                    <a:pt x="335" y="578"/>
                    <a:pt x="426" y="426"/>
                    <a:pt x="547" y="274"/>
                  </a:cubicBezTo>
                  <a:cubicBezTo>
                    <a:pt x="608" y="183"/>
                    <a:pt x="730" y="122"/>
                    <a:pt x="882" y="122"/>
                  </a:cubicBezTo>
                  <a:cubicBezTo>
                    <a:pt x="973" y="122"/>
                    <a:pt x="1034" y="183"/>
                    <a:pt x="1064" y="274"/>
                  </a:cubicBezTo>
                  <a:lnTo>
                    <a:pt x="1064" y="365"/>
                  </a:lnTo>
                  <a:cubicBezTo>
                    <a:pt x="1064" y="373"/>
                    <a:pt x="1066" y="377"/>
                    <a:pt x="1069" y="377"/>
                  </a:cubicBezTo>
                  <a:cubicBezTo>
                    <a:pt x="1079" y="377"/>
                    <a:pt x="1102" y="343"/>
                    <a:pt x="1125" y="274"/>
                  </a:cubicBezTo>
                  <a:cubicBezTo>
                    <a:pt x="1125" y="213"/>
                    <a:pt x="1094" y="153"/>
                    <a:pt x="1064" y="122"/>
                  </a:cubicBezTo>
                  <a:cubicBezTo>
                    <a:pt x="1034" y="61"/>
                    <a:pt x="973" y="31"/>
                    <a:pt x="912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6" name="Google Shape;464;g191abe3b490_12_4485"/>
            <p:cNvSpPr/>
            <p:nvPr/>
          </p:nvSpPr>
          <p:spPr>
            <a:xfrm>
              <a:off x="5552800" y="1171150"/>
              <a:ext cx="232550" cy="130525"/>
            </a:xfrm>
            <a:custGeom>
              <a:avLst/>
              <a:ahLst/>
              <a:rect l="l" t="t" r="r" b="b"/>
              <a:pathLst>
                <a:path w="9302" h="5221" extrusionOk="0">
                  <a:moveTo>
                    <a:pt x="7662" y="1"/>
                  </a:moveTo>
                  <a:cubicBezTo>
                    <a:pt x="7609" y="1"/>
                    <a:pt x="7557" y="12"/>
                    <a:pt x="7508" y="36"/>
                  </a:cubicBezTo>
                  <a:cubicBezTo>
                    <a:pt x="7174" y="188"/>
                    <a:pt x="7235" y="644"/>
                    <a:pt x="7326" y="978"/>
                  </a:cubicBezTo>
                  <a:cubicBezTo>
                    <a:pt x="7326" y="978"/>
                    <a:pt x="5346" y="245"/>
                    <a:pt x="3507" y="245"/>
                  </a:cubicBezTo>
                  <a:cubicBezTo>
                    <a:pt x="2978" y="245"/>
                    <a:pt x="2461" y="306"/>
                    <a:pt x="2007" y="462"/>
                  </a:cubicBezTo>
                  <a:cubicBezTo>
                    <a:pt x="1" y="1161"/>
                    <a:pt x="1824" y="3562"/>
                    <a:pt x="1824" y="3562"/>
                  </a:cubicBezTo>
                  <a:cubicBezTo>
                    <a:pt x="2227" y="3285"/>
                    <a:pt x="2634" y="3180"/>
                    <a:pt x="3021" y="3180"/>
                  </a:cubicBezTo>
                  <a:cubicBezTo>
                    <a:pt x="3570" y="3180"/>
                    <a:pt x="4077" y="3391"/>
                    <a:pt x="4469" y="3623"/>
                  </a:cubicBezTo>
                  <a:cubicBezTo>
                    <a:pt x="5107" y="3988"/>
                    <a:pt x="5685" y="4535"/>
                    <a:pt x="6353" y="4899"/>
                  </a:cubicBezTo>
                  <a:cubicBezTo>
                    <a:pt x="6711" y="5095"/>
                    <a:pt x="7139" y="5220"/>
                    <a:pt x="7552" y="5220"/>
                  </a:cubicBezTo>
                  <a:cubicBezTo>
                    <a:pt x="7911" y="5220"/>
                    <a:pt x="8259" y="5125"/>
                    <a:pt x="8542" y="4899"/>
                  </a:cubicBezTo>
                  <a:cubicBezTo>
                    <a:pt x="8967" y="4504"/>
                    <a:pt x="9210" y="3957"/>
                    <a:pt x="9241" y="3380"/>
                  </a:cubicBezTo>
                  <a:cubicBezTo>
                    <a:pt x="9302" y="2285"/>
                    <a:pt x="8967" y="1191"/>
                    <a:pt x="8238" y="340"/>
                  </a:cubicBezTo>
                  <a:cubicBezTo>
                    <a:pt x="8092" y="170"/>
                    <a:pt x="7869" y="1"/>
                    <a:pt x="766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7" name="Google Shape;465;g191abe3b490_12_4485"/>
            <p:cNvSpPr/>
            <p:nvPr/>
          </p:nvSpPr>
          <p:spPr>
            <a:xfrm>
              <a:off x="5629550" y="1140875"/>
              <a:ext cx="142125" cy="158850"/>
            </a:xfrm>
            <a:custGeom>
              <a:avLst/>
              <a:ahLst/>
              <a:rect l="l" t="t" r="r" b="b"/>
              <a:pathLst>
                <a:path w="5685" h="6354" extrusionOk="0">
                  <a:moveTo>
                    <a:pt x="1" y="1"/>
                  </a:moveTo>
                  <a:cubicBezTo>
                    <a:pt x="1" y="31"/>
                    <a:pt x="1" y="92"/>
                    <a:pt x="1" y="122"/>
                  </a:cubicBezTo>
                  <a:cubicBezTo>
                    <a:pt x="31" y="214"/>
                    <a:pt x="31" y="305"/>
                    <a:pt x="92" y="426"/>
                  </a:cubicBezTo>
                  <a:cubicBezTo>
                    <a:pt x="213" y="761"/>
                    <a:pt x="426" y="1095"/>
                    <a:pt x="669" y="1338"/>
                  </a:cubicBezTo>
                  <a:cubicBezTo>
                    <a:pt x="1064" y="1764"/>
                    <a:pt x="1520" y="2068"/>
                    <a:pt x="2007" y="2341"/>
                  </a:cubicBezTo>
                  <a:cubicBezTo>
                    <a:pt x="2311" y="2463"/>
                    <a:pt x="2615" y="2585"/>
                    <a:pt x="2949" y="2645"/>
                  </a:cubicBezTo>
                  <a:cubicBezTo>
                    <a:pt x="3283" y="2737"/>
                    <a:pt x="3618" y="2767"/>
                    <a:pt x="3952" y="2858"/>
                  </a:cubicBezTo>
                  <a:cubicBezTo>
                    <a:pt x="4286" y="2949"/>
                    <a:pt x="4560" y="3101"/>
                    <a:pt x="4833" y="3314"/>
                  </a:cubicBezTo>
                  <a:cubicBezTo>
                    <a:pt x="5077" y="3527"/>
                    <a:pt x="5259" y="3770"/>
                    <a:pt x="5350" y="4074"/>
                  </a:cubicBezTo>
                  <a:cubicBezTo>
                    <a:pt x="5472" y="4317"/>
                    <a:pt x="5502" y="4591"/>
                    <a:pt x="5502" y="4895"/>
                  </a:cubicBezTo>
                  <a:cubicBezTo>
                    <a:pt x="5472" y="5138"/>
                    <a:pt x="5381" y="5351"/>
                    <a:pt x="5259" y="5563"/>
                  </a:cubicBezTo>
                  <a:cubicBezTo>
                    <a:pt x="5046" y="5867"/>
                    <a:pt x="4773" y="6110"/>
                    <a:pt x="4438" y="6232"/>
                  </a:cubicBezTo>
                  <a:cubicBezTo>
                    <a:pt x="4195" y="6354"/>
                    <a:pt x="4043" y="6354"/>
                    <a:pt x="4043" y="6354"/>
                  </a:cubicBezTo>
                  <a:lnTo>
                    <a:pt x="4165" y="6354"/>
                  </a:lnTo>
                  <a:cubicBezTo>
                    <a:pt x="4256" y="6323"/>
                    <a:pt x="4377" y="6323"/>
                    <a:pt x="4469" y="6293"/>
                  </a:cubicBezTo>
                  <a:cubicBezTo>
                    <a:pt x="4833" y="6171"/>
                    <a:pt x="5137" y="5928"/>
                    <a:pt x="5350" y="5624"/>
                  </a:cubicBezTo>
                  <a:cubicBezTo>
                    <a:pt x="5502" y="5411"/>
                    <a:pt x="5593" y="5168"/>
                    <a:pt x="5624" y="4895"/>
                  </a:cubicBezTo>
                  <a:cubicBezTo>
                    <a:pt x="5685" y="4591"/>
                    <a:pt x="5624" y="4287"/>
                    <a:pt x="5533" y="4013"/>
                  </a:cubicBezTo>
                  <a:cubicBezTo>
                    <a:pt x="5411" y="3679"/>
                    <a:pt x="5198" y="3405"/>
                    <a:pt x="4955" y="3192"/>
                  </a:cubicBezTo>
                  <a:cubicBezTo>
                    <a:pt x="4681" y="2949"/>
                    <a:pt x="4347" y="2797"/>
                    <a:pt x="3982" y="2706"/>
                  </a:cubicBezTo>
                  <a:cubicBezTo>
                    <a:pt x="3648" y="2615"/>
                    <a:pt x="3314" y="2554"/>
                    <a:pt x="2979" y="2493"/>
                  </a:cubicBezTo>
                  <a:cubicBezTo>
                    <a:pt x="2675" y="2433"/>
                    <a:pt x="2371" y="2311"/>
                    <a:pt x="2067" y="2189"/>
                  </a:cubicBezTo>
                  <a:cubicBezTo>
                    <a:pt x="1581" y="1946"/>
                    <a:pt x="1156" y="1642"/>
                    <a:pt x="760" y="1278"/>
                  </a:cubicBezTo>
                  <a:cubicBezTo>
                    <a:pt x="517" y="1004"/>
                    <a:pt x="304" y="730"/>
                    <a:pt x="152" y="396"/>
                  </a:cubicBezTo>
                  <a:cubicBezTo>
                    <a:pt x="31" y="15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8" name="Google Shape;466;g191abe3b490_12_4485"/>
            <p:cNvSpPr/>
            <p:nvPr/>
          </p:nvSpPr>
          <p:spPr>
            <a:xfrm>
              <a:off x="5574850" y="1156075"/>
              <a:ext cx="178600" cy="144400"/>
            </a:xfrm>
            <a:custGeom>
              <a:avLst/>
              <a:ahLst/>
              <a:rect l="l" t="t" r="r" b="b"/>
              <a:pathLst>
                <a:path w="7144" h="5776" extrusionOk="0">
                  <a:moveTo>
                    <a:pt x="0" y="1"/>
                  </a:moveTo>
                  <a:cubicBezTo>
                    <a:pt x="0" y="31"/>
                    <a:pt x="0" y="62"/>
                    <a:pt x="30" y="92"/>
                  </a:cubicBezTo>
                  <a:cubicBezTo>
                    <a:pt x="61" y="214"/>
                    <a:pt x="61" y="305"/>
                    <a:pt x="122" y="396"/>
                  </a:cubicBezTo>
                  <a:cubicBezTo>
                    <a:pt x="274" y="761"/>
                    <a:pt x="486" y="1095"/>
                    <a:pt x="760" y="1369"/>
                  </a:cubicBezTo>
                  <a:cubicBezTo>
                    <a:pt x="1185" y="1764"/>
                    <a:pt x="1702" y="2068"/>
                    <a:pt x="2249" y="2250"/>
                  </a:cubicBezTo>
                  <a:cubicBezTo>
                    <a:pt x="2918" y="2463"/>
                    <a:pt x="3617" y="2645"/>
                    <a:pt x="4316" y="2736"/>
                  </a:cubicBezTo>
                  <a:cubicBezTo>
                    <a:pt x="4985" y="2858"/>
                    <a:pt x="5654" y="3040"/>
                    <a:pt x="6292" y="3314"/>
                  </a:cubicBezTo>
                  <a:cubicBezTo>
                    <a:pt x="6565" y="3436"/>
                    <a:pt x="6778" y="3618"/>
                    <a:pt x="6900" y="3891"/>
                  </a:cubicBezTo>
                  <a:cubicBezTo>
                    <a:pt x="6991" y="4135"/>
                    <a:pt x="7021" y="4378"/>
                    <a:pt x="6961" y="4621"/>
                  </a:cubicBezTo>
                  <a:cubicBezTo>
                    <a:pt x="6869" y="4986"/>
                    <a:pt x="6626" y="5320"/>
                    <a:pt x="6322" y="5533"/>
                  </a:cubicBezTo>
                  <a:cubicBezTo>
                    <a:pt x="6167" y="5644"/>
                    <a:pt x="6060" y="5723"/>
                    <a:pt x="6014" y="5757"/>
                  </a:cubicBezTo>
                  <a:lnTo>
                    <a:pt x="6014" y="5757"/>
                  </a:lnTo>
                  <a:cubicBezTo>
                    <a:pt x="6036" y="5746"/>
                    <a:pt x="6057" y="5746"/>
                    <a:pt x="6079" y="5746"/>
                  </a:cubicBezTo>
                  <a:cubicBezTo>
                    <a:pt x="6170" y="5685"/>
                    <a:pt x="6292" y="5654"/>
                    <a:pt x="6383" y="5594"/>
                  </a:cubicBezTo>
                  <a:cubicBezTo>
                    <a:pt x="6717" y="5381"/>
                    <a:pt x="6961" y="5046"/>
                    <a:pt x="7082" y="4651"/>
                  </a:cubicBezTo>
                  <a:cubicBezTo>
                    <a:pt x="7143" y="4378"/>
                    <a:pt x="7113" y="4104"/>
                    <a:pt x="7021" y="3831"/>
                  </a:cubicBezTo>
                  <a:cubicBezTo>
                    <a:pt x="6900" y="3527"/>
                    <a:pt x="6657" y="3284"/>
                    <a:pt x="6353" y="3162"/>
                  </a:cubicBezTo>
                  <a:cubicBezTo>
                    <a:pt x="5714" y="2858"/>
                    <a:pt x="5015" y="2676"/>
                    <a:pt x="4316" y="2584"/>
                  </a:cubicBezTo>
                  <a:cubicBezTo>
                    <a:pt x="3648" y="2463"/>
                    <a:pt x="2948" y="2311"/>
                    <a:pt x="2310" y="2098"/>
                  </a:cubicBezTo>
                  <a:cubicBezTo>
                    <a:pt x="1763" y="1916"/>
                    <a:pt x="1277" y="1642"/>
                    <a:pt x="851" y="1277"/>
                  </a:cubicBezTo>
                  <a:cubicBezTo>
                    <a:pt x="547" y="1034"/>
                    <a:pt x="334" y="700"/>
                    <a:pt x="182" y="366"/>
                  </a:cubicBezTo>
                  <a:cubicBezTo>
                    <a:pt x="61" y="153"/>
                    <a:pt x="0" y="1"/>
                    <a:pt x="0" y="1"/>
                  </a:cubicBezTo>
                  <a:close/>
                  <a:moveTo>
                    <a:pt x="6014" y="5757"/>
                  </a:moveTo>
                  <a:lnTo>
                    <a:pt x="6014" y="5757"/>
                  </a:lnTo>
                  <a:cubicBezTo>
                    <a:pt x="6005" y="5761"/>
                    <a:pt x="5997" y="5767"/>
                    <a:pt x="5988" y="5776"/>
                  </a:cubicBezTo>
                  <a:cubicBezTo>
                    <a:pt x="5988" y="5776"/>
                    <a:pt x="5997" y="5769"/>
                    <a:pt x="6014" y="575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89" name="Google Shape;467;g191abe3b490_12_4485"/>
            <p:cNvSpPr/>
            <p:nvPr/>
          </p:nvSpPr>
          <p:spPr>
            <a:xfrm>
              <a:off x="5711625" y="1397350"/>
              <a:ext cx="25850" cy="22350"/>
            </a:xfrm>
            <a:custGeom>
              <a:avLst/>
              <a:ahLst/>
              <a:rect l="l" t="t" r="r" b="b"/>
              <a:pathLst>
                <a:path w="1034" h="894" extrusionOk="0">
                  <a:moveTo>
                    <a:pt x="525" y="0"/>
                  </a:moveTo>
                  <a:cubicBezTo>
                    <a:pt x="337" y="0"/>
                    <a:pt x="137" y="118"/>
                    <a:pt x="61" y="320"/>
                  </a:cubicBezTo>
                  <a:cubicBezTo>
                    <a:pt x="0" y="563"/>
                    <a:pt x="152" y="806"/>
                    <a:pt x="395" y="867"/>
                  </a:cubicBezTo>
                  <a:cubicBezTo>
                    <a:pt x="445" y="885"/>
                    <a:pt x="494" y="894"/>
                    <a:pt x="542" y="894"/>
                  </a:cubicBezTo>
                  <a:cubicBezTo>
                    <a:pt x="731" y="894"/>
                    <a:pt x="900" y="763"/>
                    <a:pt x="973" y="593"/>
                  </a:cubicBezTo>
                  <a:cubicBezTo>
                    <a:pt x="1034" y="350"/>
                    <a:pt x="912" y="76"/>
                    <a:pt x="639" y="16"/>
                  </a:cubicBezTo>
                  <a:cubicBezTo>
                    <a:pt x="602" y="5"/>
                    <a:pt x="564" y="0"/>
                    <a:pt x="52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0" name="Google Shape;468;g191abe3b490_12_4485"/>
            <p:cNvSpPr/>
            <p:nvPr/>
          </p:nvSpPr>
          <p:spPr>
            <a:xfrm>
              <a:off x="5712375" y="1384650"/>
              <a:ext cx="45625" cy="20875"/>
            </a:xfrm>
            <a:custGeom>
              <a:avLst/>
              <a:ahLst/>
              <a:rect l="l" t="t" r="r" b="b"/>
              <a:pathLst>
                <a:path w="1825" h="835" extrusionOk="0">
                  <a:moveTo>
                    <a:pt x="623" y="0"/>
                  </a:moveTo>
                  <a:cubicBezTo>
                    <a:pt x="517" y="0"/>
                    <a:pt x="410" y="12"/>
                    <a:pt x="305" y="37"/>
                  </a:cubicBezTo>
                  <a:cubicBezTo>
                    <a:pt x="122" y="98"/>
                    <a:pt x="1" y="159"/>
                    <a:pt x="31" y="220"/>
                  </a:cubicBezTo>
                  <a:cubicBezTo>
                    <a:pt x="42" y="254"/>
                    <a:pt x="109" y="258"/>
                    <a:pt x="214" y="258"/>
                  </a:cubicBezTo>
                  <a:cubicBezTo>
                    <a:pt x="249" y="258"/>
                    <a:pt x="288" y="258"/>
                    <a:pt x="331" y="258"/>
                  </a:cubicBezTo>
                  <a:cubicBezTo>
                    <a:pt x="502" y="258"/>
                    <a:pt x="730" y="265"/>
                    <a:pt x="973" y="341"/>
                  </a:cubicBezTo>
                  <a:cubicBezTo>
                    <a:pt x="1423" y="510"/>
                    <a:pt x="1665" y="834"/>
                    <a:pt x="1771" y="834"/>
                  </a:cubicBezTo>
                  <a:cubicBezTo>
                    <a:pt x="1779" y="834"/>
                    <a:pt x="1787" y="832"/>
                    <a:pt x="1794" y="828"/>
                  </a:cubicBezTo>
                  <a:cubicBezTo>
                    <a:pt x="1824" y="828"/>
                    <a:pt x="1794" y="706"/>
                    <a:pt x="1703" y="524"/>
                  </a:cubicBezTo>
                  <a:cubicBezTo>
                    <a:pt x="1437" y="185"/>
                    <a:pt x="1036" y="0"/>
                    <a:pt x="62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1" name="Google Shape;469;g191abe3b490_12_4485"/>
            <p:cNvSpPr/>
            <p:nvPr/>
          </p:nvSpPr>
          <p:spPr>
            <a:xfrm>
              <a:off x="5594600" y="1363625"/>
              <a:ext cx="25850" cy="22350"/>
            </a:xfrm>
            <a:custGeom>
              <a:avLst/>
              <a:ahLst/>
              <a:rect l="l" t="t" r="r" b="b"/>
              <a:pathLst>
                <a:path w="1034" h="894" extrusionOk="0">
                  <a:moveTo>
                    <a:pt x="491" y="0"/>
                  </a:moveTo>
                  <a:cubicBezTo>
                    <a:pt x="295" y="0"/>
                    <a:pt x="110" y="137"/>
                    <a:pt x="61" y="331"/>
                  </a:cubicBezTo>
                  <a:cubicBezTo>
                    <a:pt x="0" y="544"/>
                    <a:pt x="122" y="817"/>
                    <a:pt x="365" y="878"/>
                  </a:cubicBezTo>
                  <a:cubicBezTo>
                    <a:pt x="407" y="889"/>
                    <a:pt x="449" y="894"/>
                    <a:pt x="492" y="894"/>
                  </a:cubicBezTo>
                  <a:cubicBezTo>
                    <a:pt x="696" y="894"/>
                    <a:pt x="892" y="776"/>
                    <a:pt x="943" y="574"/>
                  </a:cubicBezTo>
                  <a:cubicBezTo>
                    <a:pt x="1034" y="331"/>
                    <a:pt x="882" y="88"/>
                    <a:pt x="639" y="27"/>
                  </a:cubicBezTo>
                  <a:cubicBezTo>
                    <a:pt x="590" y="9"/>
                    <a:pt x="540" y="0"/>
                    <a:pt x="49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2" name="Google Shape;470;g191abe3b490_12_4485"/>
            <p:cNvSpPr/>
            <p:nvPr/>
          </p:nvSpPr>
          <p:spPr>
            <a:xfrm>
              <a:off x="5595350" y="1346525"/>
              <a:ext cx="44875" cy="20875"/>
            </a:xfrm>
            <a:custGeom>
              <a:avLst/>
              <a:ahLst/>
              <a:rect l="l" t="t" r="r" b="b"/>
              <a:pathLst>
                <a:path w="1795" h="835" extrusionOk="0">
                  <a:moveTo>
                    <a:pt x="635" y="0"/>
                  </a:moveTo>
                  <a:cubicBezTo>
                    <a:pt x="523" y="0"/>
                    <a:pt x="414" y="15"/>
                    <a:pt x="305" y="42"/>
                  </a:cubicBezTo>
                  <a:cubicBezTo>
                    <a:pt x="92" y="103"/>
                    <a:pt x="1" y="134"/>
                    <a:pt x="31" y="225"/>
                  </a:cubicBezTo>
                  <a:cubicBezTo>
                    <a:pt x="39" y="240"/>
                    <a:pt x="71" y="244"/>
                    <a:pt x="123" y="244"/>
                  </a:cubicBezTo>
                  <a:cubicBezTo>
                    <a:pt x="175" y="244"/>
                    <a:pt x="246" y="240"/>
                    <a:pt x="331" y="240"/>
                  </a:cubicBezTo>
                  <a:cubicBezTo>
                    <a:pt x="502" y="240"/>
                    <a:pt x="730" y="255"/>
                    <a:pt x="973" y="346"/>
                  </a:cubicBezTo>
                  <a:cubicBezTo>
                    <a:pt x="1411" y="492"/>
                    <a:pt x="1653" y="835"/>
                    <a:pt x="1752" y="835"/>
                  </a:cubicBezTo>
                  <a:cubicBezTo>
                    <a:pt x="1756" y="835"/>
                    <a:pt x="1760" y="834"/>
                    <a:pt x="1764" y="833"/>
                  </a:cubicBezTo>
                  <a:cubicBezTo>
                    <a:pt x="1794" y="802"/>
                    <a:pt x="1794" y="681"/>
                    <a:pt x="1672" y="529"/>
                  </a:cubicBezTo>
                  <a:cubicBezTo>
                    <a:pt x="1520" y="316"/>
                    <a:pt x="1308" y="164"/>
                    <a:pt x="1065" y="73"/>
                  </a:cubicBezTo>
                  <a:cubicBezTo>
                    <a:pt x="914" y="23"/>
                    <a:pt x="773" y="0"/>
                    <a:pt x="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3" name="Google Shape;471;g191abe3b490_12_4485"/>
            <p:cNvSpPr/>
            <p:nvPr/>
          </p:nvSpPr>
          <p:spPr>
            <a:xfrm>
              <a:off x="5652350" y="1369600"/>
              <a:ext cx="34225" cy="108700"/>
            </a:xfrm>
            <a:custGeom>
              <a:avLst/>
              <a:ahLst/>
              <a:rect l="l" t="t" r="r" b="b"/>
              <a:pathLst>
                <a:path w="1369" h="4348" extrusionOk="0">
                  <a:moveTo>
                    <a:pt x="1155" y="1"/>
                  </a:moveTo>
                  <a:cubicBezTo>
                    <a:pt x="1064" y="913"/>
                    <a:pt x="1064" y="1794"/>
                    <a:pt x="1125" y="2706"/>
                  </a:cubicBezTo>
                  <a:cubicBezTo>
                    <a:pt x="1125" y="3071"/>
                    <a:pt x="1155" y="3405"/>
                    <a:pt x="1155" y="3740"/>
                  </a:cubicBezTo>
                  <a:cubicBezTo>
                    <a:pt x="1186" y="3861"/>
                    <a:pt x="1155" y="4013"/>
                    <a:pt x="1125" y="4135"/>
                  </a:cubicBezTo>
                  <a:cubicBezTo>
                    <a:pt x="1089" y="4170"/>
                    <a:pt x="1033" y="4185"/>
                    <a:pt x="968" y="4185"/>
                  </a:cubicBezTo>
                  <a:cubicBezTo>
                    <a:pt x="922" y="4185"/>
                    <a:pt x="871" y="4178"/>
                    <a:pt x="821" y="4165"/>
                  </a:cubicBezTo>
                  <a:cubicBezTo>
                    <a:pt x="548" y="4074"/>
                    <a:pt x="274" y="4044"/>
                    <a:pt x="0" y="4044"/>
                  </a:cubicBezTo>
                  <a:cubicBezTo>
                    <a:pt x="244" y="4165"/>
                    <a:pt x="487" y="4256"/>
                    <a:pt x="760" y="4317"/>
                  </a:cubicBezTo>
                  <a:cubicBezTo>
                    <a:pt x="821" y="4348"/>
                    <a:pt x="912" y="4348"/>
                    <a:pt x="973" y="4348"/>
                  </a:cubicBezTo>
                  <a:cubicBezTo>
                    <a:pt x="1064" y="4348"/>
                    <a:pt x="1186" y="4317"/>
                    <a:pt x="1247" y="4256"/>
                  </a:cubicBezTo>
                  <a:cubicBezTo>
                    <a:pt x="1338" y="4104"/>
                    <a:pt x="1368" y="3922"/>
                    <a:pt x="1338" y="3740"/>
                  </a:cubicBezTo>
                  <a:lnTo>
                    <a:pt x="1338" y="2706"/>
                  </a:lnTo>
                  <a:cubicBezTo>
                    <a:pt x="1338" y="1794"/>
                    <a:pt x="1277" y="882"/>
                    <a:pt x="115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4" name="Google Shape;472;g191abe3b490_12_4485"/>
            <p:cNvSpPr/>
            <p:nvPr/>
          </p:nvSpPr>
          <p:spPr>
            <a:xfrm>
              <a:off x="5608275" y="1466125"/>
              <a:ext cx="33450" cy="46300"/>
            </a:xfrm>
            <a:custGeom>
              <a:avLst/>
              <a:ahLst/>
              <a:rect l="l" t="t" r="r" b="b"/>
              <a:pathLst>
                <a:path w="1338" h="1852" extrusionOk="0">
                  <a:moveTo>
                    <a:pt x="244" y="0"/>
                  </a:moveTo>
                  <a:cubicBezTo>
                    <a:pt x="183" y="0"/>
                    <a:pt x="92" y="91"/>
                    <a:pt x="61" y="335"/>
                  </a:cubicBezTo>
                  <a:cubicBezTo>
                    <a:pt x="0" y="639"/>
                    <a:pt x="61" y="973"/>
                    <a:pt x="213" y="1216"/>
                  </a:cubicBezTo>
                  <a:cubicBezTo>
                    <a:pt x="365" y="1490"/>
                    <a:pt x="639" y="1702"/>
                    <a:pt x="943" y="1794"/>
                  </a:cubicBezTo>
                  <a:cubicBezTo>
                    <a:pt x="1059" y="1827"/>
                    <a:pt x="1158" y="1851"/>
                    <a:pt x="1223" y="1851"/>
                  </a:cubicBezTo>
                  <a:cubicBezTo>
                    <a:pt x="1276" y="1851"/>
                    <a:pt x="1307" y="1835"/>
                    <a:pt x="1307" y="1794"/>
                  </a:cubicBezTo>
                  <a:cubicBezTo>
                    <a:pt x="1338" y="1733"/>
                    <a:pt x="760" y="1581"/>
                    <a:pt x="456" y="1064"/>
                  </a:cubicBezTo>
                  <a:cubicBezTo>
                    <a:pt x="152" y="547"/>
                    <a:pt x="335" y="0"/>
                    <a:pt x="24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5" name="Google Shape;473;g191abe3b490_12_4485"/>
            <p:cNvSpPr/>
            <p:nvPr/>
          </p:nvSpPr>
          <p:spPr>
            <a:xfrm>
              <a:off x="5602200" y="1302050"/>
              <a:ext cx="57775" cy="20550"/>
            </a:xfrm>
            <a:custGeom>
              <a:avLst/>
              <a:ahLst/>
              <a:rect l="l" t="t" r="r" b="b"/>
              <a:pathLst>
                <a:path w="2311" h="822" extrusionOk="0">
                  <a:moveTo>
                    <a:pt x="807" y="0"/>
                  </a:moveTo>
                  <a:cubicBezTo>
                    <a:pt x="651" y="0"/>
                    <a:pt x="493" y="19"/>
                    <a:pt x="335" y="59"/>
                  </a:cubicBezTo>
                  <a:cubicBezTo>
                    <a:pt x="91" y="119"/>
                    <a:pt x="0" y="211"/>
                    <a:pt x="0" y="271"/>
                  </a:cubicBezTo>
                  <a:cubicBezTo>
                    <a:pt x="31" y="423"/>
                    <a:pt x="517" y="423"/>
                    <a:pt x="1125" y="545"/>
                  </a:cubicBezTo>
                  <a:cubicBezTo>
                    <a:pt x="1592" y="643"/>
                    <a:pt x="1980" y="821"/>
                    <a:pt x="2159" y="821"/>
                  </a:cubicBezTo>
                  <a:cubicBezTo>
                    <a:pt x="2201" y="821"/>
                    <a:pt x="2232" y="811"/>
                    <a:pt x="2250" y="788"/>
                  </a:cubicBezTo>
                  <a:cubicBezTo>
                    <a:pt x="2310" y="727"/>
                    <a:pt x="2219" y="606"/>
                    <a:pt x="2037" y="423"/>
                  </a:cubicBezTo>
                  <a:cubicBezTo>
                    <a:pt x="1677" y="153"/>
                    <a:pt x="1251" y="0"/>
                    <a:pt x="80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6" name="Google Shape;474;g191abe3b490_12_4485"/>
            <p:cNvSpPr/>
            <p:nvPr/>
          </p:nvSpPr>
          <p:spPr>
            <a:xfrm>
              <a:off x="5724525" y="1348525"/>
              <a:ext cx="41825" cy="21600"/>
            </a:xfrm>
            <a:custGeom>
              <a:avLst/>
              <a:ahLst/>
              <a:rect l="l" t="t" r="r" b="b"/>
              <a:pathLst>
                <a:path w="1673" h="864" extrusionOk="0">
                  <a:moveTo>
                    <a:pt x="521" y="0"/>
                  </a:moveTo>
                  <a:cubicBezTo>
                    <a:pt x="440" y="0"/>
                    <a:pt x="357" y="8"/>
                    <a:pt x="275" y="23"/>
                  </a:cubicBezTo>
                  <a:cubicBezTo>
                    <a:pt x="92" y="84"/>
                    <a:pt x="1" y="175"/>
                    <a:pt x="1" y="236"/>
                  </a:cubicBezTo>
                  <a:cubicBezTo>
                    <a:pt x="31" y="388"/>
                    <a:pt x="396" y="418"/>
                    <a:pt x="791" y="570"/>
                  </a:cubicBezTo>
                  <a:cubicBezTo>
                    <a:pt x="1126" y="673"/>
                    <a:pt x="1396" y="864"/>
                    <a:pt x="1544" y="864"/>
                  </a:cubicBezTo>
                  <a:cubicBezTo>
                    <a:pt x="1571" y="864"/>
                    <a:pt x="1593" y="858"/>
                    <a:pt x="1612" y="844"/>
                  </a:cubicBezTo>
                  <a:cubicBezTo>
                    <a:pt x="1673" y="814"/>
                    <a:pt x="1642" y="692"/>
                    <a:pt x="1551" y="510"/>
                  </a:cubicBezTo>
                  <a:cubicBezTo>
                    <a:pt x="1299" y="182"/>
                    <a:pt x="921" y="0"/>
                    <a:pt x="52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7" name="Google Shape;475;g191abe3b490_12_4485"/>
            <p:cNvSpPr/>
            <p:nvPr/>
          </p:nvSpPr>
          <p:spPr>
            <a:xfrm>
              <a:off x="5492000" y="2423575"/>
              <a:ext cx="83625" cy="79050"/>
            </a:xfrm>
            <a:custGeom>
              <a:avLst/>
              <a:ahLst/>
              <a:rect l="l" t="t" r="r" b="b"/>
              <a:pathLst>
                <a:path w="3345" h="3162" extrusionOk="0">
                  <a:moveTo>
                    <a:pt x="1946" y="1"/>
                  </a:moveTo>
                  <a:lnTo>
                    <a:pt x="1" y="669"/>
                  </a:lnTo>
                  <a:lnTo>
                    <a:pt x="609" y="3162"/>
                  </a:lnTo>
                  <a:lnTo>
                    <a:pt x="3162" y="2128"/>
                  </a:lnTo>
                  <a:cubicBezTo>
                    <a:pt x="3344" y="1216"/>
                    <a:pt x="2828" y="305"/>
                    <a:pt x="194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8" name="Google Shape;476;g191abe3b490_12_4485"/>
            <p:cNvSpPr/>
            <p:nvPr/>
          </p:nvSpPr>
          <p:spPr>
            <a:xfrm>
              <a:off x="5001875" y="2319850"/>
              <a:ext cx="494725" cy="160925"/>
            </a:xfrm>
            <a:custGeom>
              <a:avLst/>
              <a:ahLst/>
              <a:rect l="l" t="t" r="r" b="b"/>
              <a:pathLst>
                <a:path w="19789" h="6437" extrusionOk="0">
                  <a:moveTo>
                    <a:pt x="3301" y="1"/>
                  </a:moveTo>
                  <a:cubicBezTo>
                    <a:pt x="2727" y="1"/>
                    <a:pt x="2124" y="43"/>
                    <a:pt x="1490" y="137"/>
                  </a:cubicBezTo>
                  <a:lnTo>
                    <a:pt x="1" y="4150"/>
                  </a:lnTo>
                  <a:cubicBezTo>
                    <a:pt x="1" y="4150"/>
                    <a:pt x="1216" y="4020"/>
                    <a:pt x="2836" y="4020"/>
                  </a:cubicBezTo>
                  <a:cubicBezTo>
                    <a:pt x="4546" y="4020"/>
                    <a:pt x="6705" y="4164"/>
                    <a:pt x="8359" y="4758"/>
                  </a:cubicBezTo>
                  <a:cubicBezTo>
                    <a:pt x="11034" y="5691"/>
                    <a:pt x="14254" y="6436"/>
                    <a:pt x="16296" y="6436"/>
                  </a:cubicBezTo>
                  <a:cubicBezTo>
                    <a:pt x="16714" y="6436"/>
                    <a:pt x="17083" y="6405"/>
                    <a:pt x="17387" y="6338"/>
                  </a:cubicBezTo>
                  <a:cubicBezTo>
                    <a:pt x="18329" y="6095"/>
                    <a:pt x="19180" y="5548"/>
                    <a:pt x="19788" y="4818"/>
                  </a:cubicBezTo>
                  <a:cubicBezTo>
                    <a:pt x="19788" y="4818"/>
                    <a:pt x="14682" y="4180"/>
                    <a:pt x="12250" y="3420"/>
                  </a:cubicBezTo>
                  <a:cubicBezTo>
                    <a:pt x="10812" y="2959"/>
                    <a:pt x="8088" y="1"/>
                    <a:pt x="330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499" name="Google Shape;477;g191abe3b490_12_4485"/>
            <p:cNvSpPr/>
            <p:nvPr/>
          </p:nvSpPr>
          <p:spPr>
            <a:xfrm>
              <a:off x="5419050" y="2438775"/>
              <a:ext cx="101850" cy="80150"/>
            </a:xfrm>
            <a:custGeom>
              <a:avLst/>
              <a:ahLst/>
              <a:rect l="l" t="t" r="r" b="b"/>
              <a:pathLst>
                <a:path w="4074" h="3206" extrusionOk="0">
                  <a:moveTo>
                    <a:pt x="3071" y="1"/>
                  </a:moveTo>
                  <a:lnTo>
                    <a:pt x="3132" y="61"/>
                  </a:lnTo>
                  <a:cubicBezTo>
                    <a:pt x="2585" y="92"/>
                    <a:pt x="2037" y="153"/>
                    <a:pt x="1521" y="304"/>
                  </a:cubicBezTo>
                  <a:cubicBezTo>
                    <a:pt x="1004" y="426"/>
                    <a:pt x="518" y="730"/>
                    <a:pt x="183" y="1125"/>
                  </a:cubicBezTo>
                  <a:cubicBezTo>
                    <a:pt x="62" y="1247"/>
                    <a:pt x="1" y="1429"/>
                    <a:pt x="1" y="1612"/>
                  </a:cubicBezTo>
                  <a:cubicBezTo>
                    <a:pt x="31" y="1855"/>
                    <a:pt x="183" y="2037"/>
                    <a:pt x="396" y="2159"/>
                  </a:cubicBezTo>
                  <a:cubicBezTo>
                    <a:pt x="852" y="2584"/>
                    <a:pt x="1399" y="2919"/>
                    <a:pt x="2007" y="3131"/>
                  </a:cubicBezTo>
                  <a:cubicBezTo>
                    <a:pt x="2173" y="3181"/>
                    <a:pt x="2343" y="3206"/>
                    <a:pt x="2512" y="3206"/>
                  </a:cubicBezTo>
                  <a:cubicBezTo>
                    <a:pt x="2964" y="3206"/>
                    <a:pt x="3408" y="3029"/>
                    <a:pt x="3740" y="2675"/>
                  </a:cubicBezTo>
                  <a:cubicBezTo>
                    <a:pt x="4013" y="2250"/>
                    <a:pt x="4074" y="1733"/>
                    <a:pt x="3892" y="1247"/>
                  </a:cubicBezTo>
                  <a:cubicBezTo>
                    <a:pt x="3709" y="760"/>
                    <a:pt x="3436" y="335"/>
                    <a:pt x="307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0" name="Google Shape;478;g191abe3b490_12_4485"/>
            <p:cNvSpPr/>
            <p:nvPr/>
          </p:nvSpPr>
          <p:spPr>
            <a:xfrm>
              <a:off x="5423625" y="2442250"/>
              <a:ext cx="96525" cy="75875"/>
            </a:xfrm>
            <a:custGeom>
              <a:avLst/>
              <a:ahLst/>
              <a:rect l="l" t="t" r="r" b="b"/>
              <a:pathLst>
                <a:path w="3861" h="3035" extrusionOk="0">
                  <a:moveTo>
                    <a:pt x="1795" y="0"/>
                  </a:moveTo>
                  <a:cubicBezTo>
                    <a:pt x="1493" y="0"/>
                    <a:pt x="1196" y="54"/>
                    <a:pt x="912" y="135"/>
                  </a:cubicBezTo>
                  <a:cubicBezTo>
                    <a:pt x="608" y="226"/>
                    <a:pt x="365" y="409"/>
                    <a:pt x="152" y="621"/>
                  </a:cubicBezTo>
                  <a:cubicBezTo>
                    <a:pt x="61" y="713"/>
                    <a:pt x="31" y="804"/>
                    <a:pt x="0" y="925"/>
                  </a:cubicBezTo>
                  <a:cubicBezTo>
                    <a:pt x="31" y="834"/>
                    <a:pt x="91" y="743"/>
                    <a:pt x="152" y="652"/>
                  </a:cubicBezTo>
                  <a:cubicBezTo>
                    <a:pt x="365" y="439"/>
                    <a:pt x="639" y="287"/>
                    <a:pt x="912" y="196"/>
                  </a:cubicBezTo>
                  <a:cubicBezTo>
                    <a:pt x="1196" y="115"/>
                    <a:pt x="1493" y="74"/>
                    <a:pt x="1786" y="74"/>
                  </a:cubicBezTo>
                  <a:cubicBezTo>
                    <a:pt x="1932" y="74"/>
                    <a:pt x="2077" y="84"/>
                    <a:pt x="2219" y="105"/>
                  </a:cubicBezTo>
                  <a:cubicBezTo>
                    <a:pt x="2766" y="196"/>
                    <a:pt x="3253" y="500"/>
                    <a:pt x="3526" y="956"/>
                  </a:cubicBezTo>
                  <a:cubicBezTo>
                    <a:pt x="3830" y="1442"/>
                    <a:pt x="3830" y="2050"/>
                    <a:pt x="3465" y="2476"/>
                  </a:cubicBezTo>
                  <a:cubicBezTo>
                    <a:pt x="3253" y="2794"/>
                    <a:pt x="2879" y="2973"/>
                    <a:pt x="2504" y="2973"/>
                  </a:cubicBezTo>
                  <a:cubicBezTo>
                    <a:pt x="2449" y="2973"/>
                    <a:pt x="2395" y="2970"/>
                    <a:pt x="2341" y="2962"/>
                  </a:cubicBezTo>
                  <a:cubicBezTo>
                    <a:pt x="2037" y="2931"/>
                    <a:pt x="1733" y="2871"/>
                    <a:pt x="1459" y="2780"/>
                  </a:cubicBezTo>
                  <a:lnTo>
                    <a:pt x="1247" y="2688"/>
                  </a:lnTo>
                  <a:lnTo>
                    <a:pt x="1155" y="2658"/>
                  </a:lnTo>
                  <a:lnTo>
                    <a:pt x="1155" y="2658"/>
                  </a:lnTo>
                  <a:cubicBezTo>
                    <a:pt x="1186" y="2688"/>
                    <a:pt x="1186" y="2688"/>
                    <a:pt x="1216" y="2719"/>
                  </a:cubicBezTo>
                  <a:cubicBezTo>
                    <a:pt x="1277" y="2719"/>
                    <a:pt x="1368" y="2780"/>
                    <a:pt x="1459" y="2810"/>
                  </a:cubicBezTo>
                  <a:cubicBezTo>
                    <a:pt x="1733" y="2931"/>
                    <a:pt x="2037" y="2992"/>
                    <a:pt x="2341" y="3023"/>
                  </a:cubicBezTo>
                  <a:cubicBezTo>
                    <a:pt x="2398" y="3031"/>
                    <a:pt x="2455" y="3035"/>
                    <a:pt x="2512" y="3035"/>
                  </a:cubicBezTo>
                  <a:cubicBezTo>
                    <a:pt x="2668" y="3035"/>
                    <a:pt x="2823" y="3006"/>
                    <a:pt x="2979" y="2962"/>
                  </a:cubicBezTo>
                  <a:cubicBezTo>
                    <a:pt x="3192" y="2871"/>
                    <a:pt x="3405" y="2719"/>
                    <a:pt x="3557" y="2506"/>
                  </a:cubicBezTo>
                  <a:cubicBezTo>
                    <a:pt x="3709" y="2293"/>
                    <a:pt x="3830" y="2050"/>
                    <a:pt x="3830" y="1746"/>
                  </a:cubicBezTo>
                  <a:cubicBezTo>
                    <a:pt x="3861" y="1473"/>
                    <a:pt x="3769" y="1169"/>
                    <a:pt x="3617" y="925"/>
                  </a:cubicBezTo>
                  <a:cubicBezTo>
                    <a:pt x="3313" y="439"/>
                    <a:pt x="2827" y="135"/>
                    <a:pt x="2250" y="44"/>
                  </a:cubicBezTo>
                  <a:cubicBezTo>
                    <a:pt x="2098" y="14"/>
                    <a:pt x="1946" y="0"/>
                    <a:pt x="179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1" name="Google Shape;479;g191abe3b490_12_4485"/>
            <p:cNvSpPr/>
            <p:nvPr/>
          </p:nvSpPr>
          <p:spPr>
            <a:xfrm>
              <a:off x="5433500" y="2456250"/>
              <a:ext cx="16750" cy="11425"/>
            </a:xfrm>
            <a:custGeom>
              <a:avLst/>
              <a:ahLst/>
              <a:rect l="l" t="t" r="r" b="b"/>
              <a:pathLst>
                <a:path w="670" h="457" extrusionOk="0">
                  <a:moveTo>
                    <a:pt x="0" y="1"/>
                  </a:moveTo>
                  <a:lnTo>
                    <a:pt x="0" y="1"/>
                  </a:lnTo>
                  <a:cubicBezTo>
                    <a:pt x="122" y="31"/>
                    <a:pt x="244" y="122"/>
                    <a:pt x="365" y="183"/>
                  </a:cubicBezTo>
                  <a:cubicBezTo>
                    <a:pt x="487" y="274"/>
                    <a:pt x="578" y="365"/>
                    <a:pt x="669" y="457"/>
                  </a:cubicBezTo>
                  <a:cubicBezTo>
                    <a:pt x="517" y="213"/>
                    <a:pt x="274" y="31"/>
                    <a:pt x="0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2" name="Google Shape;480;g191abe3b490_12_4485"/>
            <p:cNvSpPr/>
            <p:nvPr/>
          </p:nvSpPr>
          <p:spPr>
            <a:xfrm>
              <a:off x="5457050" y="2456250"/>
              <a:ext cx="14475" cy="12175"/>
            </a:xfrm>
            <a:custGeom>
              <a:avLst/>
              <a:ahLst/>
              <a:rect l="l" t="t" r="r" b="b"/>
              <a:pathLst>
                <a:path w="579" h="487" extrusionOk="0">
                  <a:moveTo>
                    <a:pt x="1" y="1"/>
                  </a:moveTo>
                  <a:cubicBezTo>
                    <a:pt x="1" y="31"/>
                    <a:pt x="122" y="92"/>
                    <a:pt x="305" y="244"/>
                  </a:cubicBezTo>
                  <a:cubicBezTo>
                    <a:pt x="457" y="365"/>
                    <a:pt x="578" y="487"/>
                    <a:pt x="578" y="487"/>
                  </a:cubicBezTo>
                  <a:cubicBezTo>
                    <a:pt x="517" y="365"/>
                    <a:pt x="426" y="274"/>
                    <a:pt x="335" y="213"/>
                  </a:cubicBezTo>
                  <a:cubicBezTo>
                    <a:pt x="213" y="122"/>
                    <a:pt x="122" y="61"/>
                    <a:pt x="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3" name="Google Shape;481;g191abe3b490_12_4485"/>
            <p:cNvSpPr/>
            <p:nvPr/>
          </p:nvSpPr>
          <p:spPr>
            <a:xfrm>
              <a:off x="5458575" y="2481325"/>
              <a:ext cx="21300" cy="31950"/>
            </a:xfrm>
            <a:custGeom>
              <a:avLst/>
              <a:ahLst/>
              <a:rect l="l" t="t" r="r" b="b"/>
              <a:pathLst>
                <a:path w="852" h="1278" extrusionOk="0">
                  <a:moveTo>
                    <a:pt x="0" y="1"/>
                  </a:moveTo>
                  <a:cubicBezTo>
                    <a:pt x="1" y="1"/>
                    <a:pt x="61" y="62"/>
                    <a:pt x="183" y="153"/>
                  </a:cubicBezTo>
                  <a:cubicBezTo>
                    <a:pt x="304" y="244"/>
                    <a:pt x="456" y="396"/>
                    <a:pt x="548" y="548"/>
                  </a:cubicBezTo>
                  <a:cubicBezTo>
                    <a:pt x="639" y="700"/>
                    <a:pt x="730" y="852"/>
                    <a:pt x="791" y="1034"/>
                  </a:cubicBezTo>
                  <a:cubicBezTo>
                    <a:pt x="760" y="852"/>
                    <a:pt x="669" y="669"/>
                    <a:pt x="578" y="517"/>
                  </a:cubicBezTo>
                  <a:cubicBezTo>
                    <a:pt x="456" y="365"/>
                    <a:pt x="335" y="244"/>
                    <a:pt x="183" y="122"/>
                  </a:cubicBezTo>
                  <a:cubicBezTo>
                    <a:pt x="122" y="61"/>
                    <a:pt x="61" y="31"/>
                    <a:pt x="0" y="1"/>
                  </a:cubicBezTo>
                  <a:close/>
                  <a:moveTo>
                    <a:pt x="791" y="1034"/>
                  </a:moveTo>
                  <a:lnTo>
                    <a:pt x="791" y="1034"/>
                  </a:lnTo>
                  <a:cubicBezTo>
                    <a:pt x="821" y="1186"/>
                    <a:pt x="852" y="1277"/>
                    <a:pt x="852" y="1277"/>
                  </a:cubicBezTo>
                  <a:cubicBezTo>
                    <a:pt x="852" y="1186"/>
                    <a:pt x="821" y="1095"/>
                    <a:pt x="791" y="103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4" name="Google Shape;482;g191abe3b490_12_4485"/>
            <p:cNvSpPr/>
            <p:nvPr/>
          </p:nvSpPr>
          <p:spPr>
            <a:xfrm>
              <a:off x="5494300" y="2460050"/>
              <a:ext cx="7625" cy="36500"/>
            </a:xfrm>
            <a:custGeom>
              <a:avLst/>
              <a:ahLst/>
              <a:rect l="l" t="t" r="r" b="b"/>
              <a:pathLst>
                <a:path w="305" h="1460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30" y="61"/>
                    <a:pt x="61" y="183"/>
                  </a:cubicBezTo>
                  <a:cubicBezTo>
                    <a:pt x="152" y="365"/>
                    <a:pt x="182" y="517"/>
                    <a:pt x="213" y="700"/>
                  </a:cubicBezTo>
                  <a:cubicBezTo>
                    <a:pt x="243" y="882"/>
                    <a:pt x="274" y="1064"/>
                    <a:pt x="274" y="1216"/>
                  </a:cubicBezTo>
                  <a:cubicBezTo>
                    <a:pt x="243" y="1308"/>
                    <a:pt x="243" y="1368"/>
                    <a:pt x="274" y="1460"/>
                  </a:cubicBezTo>
                  <a:cubicBezTo>
                    <a:pt x="274" y="1429"/>
                    <a:pt x="274" y="1399"/>
                    <a:pt x="304" y="1399"/>
                  </a:cubicBezTo>
                  <a:cubicBezTo>
                    <a:pt x="304" y="1338"/>
                    <a:pt x="304" y="1277"/>
                    <a:pt x="304" y="1216"/>
                  </a:cubicBezTo>
                  <a:cubicBezTo>
                    <a:pt x="304" y="1064"/>
                    <a:pt x="304" y="882"/>
                    <a:pt x="274" y="700"/>
                  </a:cubicBezTo>
                  <a:cubicBezTo>
                    <a:pt x="243" y="517"/>
                    <a:pt x="182" y="335"/>
                    <a:pt x="91" y="183"/>
                  </a:cubicBezTo>
                  <a:cubicBezTo>
                    <a:pt x="91" y="122"/>
                    <a:pt x="61" y="92"/>
                    <a:pt x="30" y="3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5" name="Google Shape;483;g191abe3b490_12_4485"/>
            <p:cNvSpPr/>
            <p:nvPr/>
          </p:nvSpPr>
          <p:spPr>
            <a:xfrm>
              <a:off x="5448700" y="2457025"/>
              <a:ext cx="52450" cy="37250"/>
            </a:xfrm>
            <a:custGeom>
              <a:avLst/>
              <a:ahLst/>
              <a:rect l="l" t="t" r="r" b="b"/>
              <a:pathLst>
                <a:path w="2098" h="1490" extrusionOk="0">
                  <a:moveTo>
                    <a:pt x="2098" y="0"/>
                  </a:moveTo>
                  <a:cubicBezTo>
                    <a:pt x="1976" y="0"/>
                    <a:pt x="1854" y="30"/>
                    <a:pt x="1733" y="91"/>
                  </a:cubicBezTo>
                  <a:cubicBezTo>
                    <a:pt x="1125" y="304"/>
                    <a:pt x="608" y="669"/>
                    <a:pt x="213" y="1155"/>
                  </a:cubicBezTo>
                  <a:cubicBezTo>
                    <a:pt x="122" y="1246"/>
                    <a:pt x="61" y="1368"/>
                    <a:pt x="0" y="1489"/>
                  </a:cubicBezTo>
                  <a:cubicBezTo>
                    <a:pt x="517" y="790"/>
                    <a:pt x="1247" y="274"/>
                    <a:pt x="209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6" name="Google Shape;484;g191abe3b490_12_4485"/>
            <p:cNvSpPr/>
            <p:nvPr/>
          </p:nvSpPr>
          <p:spPr>
            <a:xfrm>
              <a:off x="5444125" y="2446375"/>
              <a:ext cx="25125" cy="45625"/>
            </a:xfrm>
            <a:custGeom>
              <a:avLst/>
              <a:ahLst/>
              <a:rect l="l" t="t" r="r" b="b"/>
              <a:pathLst>
                <a:path w="1005" h="1825" extrusionOk="0">
                  <a:moveTo>
                    <a:pt x="1004" y="0"/>
                  </a:moveTo>
                  <a:lnTo>
                    <a:pt x="1004" y="0"/>
                  </a:lnTo>
                  <a:cubicBezTo>
                    <a:pt x="913" y="31"/>
                    <a:pt x="822" y="92"/>
                    <a:pt x="730" y="152"/>
                  </a:cubicBezTo>
                  <a:cubicBezTo>
                    <a:pt x="548" y="335"/>
                    <a:pt x="366" y="517"/>
                    <a:pt x="244" y="760"/>
                  </a:cubicBezTo>
                  <a:cubicBezTo>
                    <a:pt x="123" y="973"/>
                    <a:pt x="31" y="1247"/>
                    <a:pt x="31" y="1490"/>
                  </a:cubicBezTo>
                  <a:cubicBezTo>
                    <a:pt x="1" y="1611"/>
                    <a:pt x="1" y="1703"/>
                    <a:pt x="31" y="1824"/>
                  </a:cubicBezTo>
                  <a:cubicBezTo>
                    <a:pt x="31" y="1459"/>
                    <a:pt x="153" y="1125"/>
                    <a:pt x="305" y="791"/>
                  </a:cubicBezTo>
                  <a:cubicBezTo>
                    <a:pt x="487" y="487"/>
                    <a:pt x="700" y="213"/>
                    <a:pt x="100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7" name="Google Shape;485;g191abe3b490_12_4485"/>
            <p:cNvSpPr/>
            <p:nvPr/>
          </p:nvSpPr>
          <p:spPr>
            <a:xfrm>
              <a:off x="5466925" y="2474500"/>
              <a:ext cx="38025" cy="38775"/>
            </a:xfrm>
            <a:custGeom>
              <a:avLst/>
              <a:ahLst/>
              <a:rect l="l" t="t" r="r" b="b"/>
              <a:pathLst>
                <a:path w="1521" h="1551" extrusionOk="0">
                  <a:moveTo>
                    <a:pt x="31" y="0"/>
                  </a:moveTo>
                  <a:lnTo>
                    <a:pt x="31" y="0"/>
                  </a:lnTo>
                  <a:cubicBezTo>
                    <a:pt x="1" y="31"/>
                    <a:pt x="487" y="243"/>
                    <a:pt x="943" y="608"/>
                  </a:cubicBezTo>
                  <a:cubicBezTo>
                    <a:pt x="1156" y="790"/>
                    <a:pt x="1308" y="1003"/>
                    <a:pt x="1399" y="1216"/>
                  </a:cubicBezTo>
                  <a:cubicBezTo>
                    <a:pt x="1490" y="1398"/>
                    <a:pt x="1490" y="1550"/>
                    <a:pt x="1490" y="1550"/>
                  </a:cubicBezTo>
                  <a:cubicBezTo>
                    <a:pt x="1521" y="1429"/>
                    <a:pt x="1490" y="1307"/>
                    <a:pt x="1460" y="1216"/>
                  </a:cubicBezTo>
                  <a:cubicBezTo>
                    <a:pt x="1369" y="942"/>
                    <a:pt x="1217" y="730"/>
                    <a:pt x="1004" y="547"/>
                  </a:cubicBezTo>
                  <a:cubicBezTo>
                    <a:pt x="791" y="395"/>
                    <a:pt x="578" y="243"/>
                    <a:pt x="335" y="122"/>
                  </a:cubicBezTo>
                  <a:cubicBezTo>
                    <a:pt x="244" y="61"/>
                    <a:pt x="153" y="31"/>
                    <a:pt x="3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8" name="Google Shape;486;g191abe3b490_12_4485"/>
            <p:cNvSpPr/>
            <p:nvPr/>
          </p:nvSpPr>
          <p:spPr>
            <a:xfrm>
              <a:off x="4933500" y="2416950"/>
              <a:ext cx="300925" cy="67450"/>
            </a:xfrm>
            <a:custGeom>
              <a:avLst/>
              <a:ahLst/>
              <a:rect l="l" t="t" r="r" b="b"/>
              <a:pathLst>
                <a:path w="12037" h="2698" extrusionOk="0">
                  <a:moveTo>
                    <a:pt x="5000" y="0"/>
                  </a:moveTo>
                  <a:cubicBezTo>
                    <a:pt x="4348" y="0"/>
                    <a:pt x="3692" y="74"/>
                    <a:pt x="3070" y="235"/>
                  </a:cubicBezTo>
                  <a:cubicBezTo>
                    <a:pt x="2401" y="418"/>
                    <a:pt x="1763" y="752"/>
                    <a:pt x="1216" y="1208"/>
                  </a:cubicBezTo>
                  <a:cubicBezTo>
                    <a:pt x="851" y="1512"/>
                    <a:pt x="517" y="1846"/>
                    <a:pt x="274" y="2241"/>
                  </a:cubicBezTo>
                  <a:cubicBezTo>
                    <a:pt x="152" y="2363"/>
                    <a:pt x="61" y="2515"/>
                    <a:pt x="0" y="2697"/>
                  </a:cubicBezTo>
                  <a:cubicBezTo>
                    <a:pt x="365" y="2181"/>
                    <a:pt x="821" y="1694"/>
                    <a:pt x="1307" y="1299"/>
                  </a:cubicBezTo>
                  <a:cubicBezTo>
                    <a:pt x="1854" y="904"/>
                    <a:pt x="2462" y="600"/>
                    <a:pt x="3100" y="418"/>
                  </a:cubicBezTo>
                  <a:cubicBezTo>
                    <a:pt x="3722" y="256"/>
                    <a:pt x="4361" y="182"/>
                    <a:pt x="4991" y="182"/>
                  </a:cubicBezTo>
                  <a:cubicBezTo>
                    <a:pt x="5193" y="182"/>
                    <a:pt x="5394" y="190"/>
                    <a:pt x="5593" y="205"/>
                  </a:cubicBezTo>
                  <a:cubicBezTo>
                    <a:pt x="7143" y="266"/>
                    <a:pt x="8663" y="448"/>
                    <a:pt x="10152" y="752"/>
                  </a:cubicBezTo>
                  <a:cubicBezTo>
                    <a:pt x="10730" y="843"/>
                    <a:pt x="11216" y="965"/>
                    <a:pt x="11520" y="1026"/>
                  </a:cubicBezTo>
                  <a:cubicBezTo>
                    <a:pt x="11702" y="1086"/>
                    <a:pt x="11854" y="1117"/>
                    <a:pt x="12037" y="1117"/>
                  </a:cubicBezTo>
                  <a:cubicBezTo>
                    <a:pt x="11885" y="1056"/>
                    <a:pt x="11733" y="995"/>
                    <a:pt x="11550" y="965"/>
                  </a:cubicBezTo>
                  <a:cubicBezTo>
                    <a:pt x="11246" y="874"/>
                    <a:pt x="10791" y="722"/>
                    <a:pt x="10213" y="600"/>
                  </a:cubicBezTo>
                  <a:cubicBezTo>
                    <a:pt x="8693" y="266"/>
                    <a:pt x="7173" y="83"/>
                    <a:pt x="5623" y="22"/>
                  </a:cubicBezTo>
                  <a:cubicBezTo>
                    <a:pt x="5417" y="8"/>
                    <a:pt x="5208" y="0"/>
                    <a:pt x="500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09" name="Google Shape;487;g191abe3b490_12_4485"/>
            <p:cNvSpPr/>
            <p:nvPr/>
          </p:nvSpPr>
          <p:spPr>
            <a:xfrm>
              <a:off x="4289850" y="2289025"/>
              <a:ext cx="645950" cy="299550"/>
            </a:xfrm>
            <a:custGeom>
              <a:avLst/>
              <a:ahLst/>
              <a:rect l="l" t="t" r="r" b="b"/>
              <a:pathLst>
                <a:path w="25838" h="11982" extrusionOk="0">
                  <a:moveTo>
                    <a:pt x="3245" y="1"/>
                  </a:moveTo>
                  <a:cubicBezTo>
                    <a:pt x="2510" y="1"/>
                    <a:pt x="1779" y="143"/>
                    <a:pt x="1095" y="428"/>
                  </a:cubicBezTo>
                  <a:cubicBezTo>
                    <a:pt x="822" y="550"/>
                    <a:pt x="548" y="702"/>
                    <a:pt x="274" y="884"/>
                  </a:cubicBezTo>
                  <a:cubicBezTo>
                    <a:pt x="183" y="945"/>
                    <a:pt x="92" y="1006"/>
                    <a:pt x="1" y="1097"/>
                  </a:cubicBezTo>
                  <a:cubicBezTo>
                    <a:pt x="366" y="854"/>
                    <a:pt x="730" y="671"/>
                    <a:pt x="1126" y="489"/>
                  </a:cubicBezTo>
                  <a:cubicBezTo>
                    <a:pt x="1746" y="241"/>
                    <a:pt x="2408" y="117"/>
                    <a:pt x="3075" y="117"/>
                  </a:cubicBezTo>
                  <a:cubicBezTo>
                    <a:pt x="3552" y="117"/>
                    <a:pt x="4031" y="180"/>
                    <a:pt x="4499" y="307"/>
                  </a:cubicBezTo>
                  <a:cubicBezTo>
                    <a:pt x="5259" y="489"/>
                    <a:pt x="5989" y="854"/>
                    <a:pt x="6566" y="1401"/>
                  </a:cubicBezTo>
                  <a:cubicBezTo>
                    <a:pt x="7235" y="2009"/>
                    <a:pt x="7843" y="2708"/>
                    <a:pt x="8329" y="3468"/>
                  </a:cubicBezTo>
                  <a:cubicBezTo>
                    <a:pt x="8907" y="4319"/>
                    <a:pt x="9515" y="5139"/>
                    <a:pt x="10153" y="5930"/>
                  </a:cubicBezTo>
                  <a:cubicBezTo>
                    <a:pt x="10852" y="6781"/>
                    <a:pt x="11642" y="7571"/>
                    <a:pt x="12463" y="8270"/>
                  </a:cubicBezTo>
                  <a:cubicBezTo>
                    <a:pt x="14165" y="9760"/>
                    <a:pt x="15989" y="10945"/>
                    <a:pt x="17874" y="11553"/>
                  </a:cubicBezTo>
                  <a:cubicBezTo>
                    <a:pt x="18755" y="11826"/>
                    <a:pt x="19667" y="11978"/>
                    <a:pt x="20609" y="11978"/>
                  </a:cubicBezTo>
                  <a:cubicBezTo>
                    <a:pt x="20661" y="11980"/>
                    <a:pt x="20712" y="11981"/>
                    <a:pt x="20763" y="11981"/>
                  </a:cubicBezTo>
                  <a:cubicBezTo>
                    <a:pt x="21529" y="11981"/>
                    <a:pt x="22266" y="11769"/>
                    <a:pt x="22950" y="11371"/>
                  </a:cubicBezTo>
                  <a:cubicBezTo>
                    <a:pt x="23497" y="11006"/>
                    <a:pt x="23983" y="10519"/>
                    <a:pt x="24348" y="9972"/>
                  </a:cubicBezTo>
                  <a:cubicBezTo>
                    <a:pt x="24713" y="9486"/>
                    <a:pt x="24986" y="9091"/>
                    <a:pt x="25199" y="8726"/>
                  </a:cubicBezTo>
                  <a:lnTo>
                    <a:pt x="25685" y="7936"/>
                  </a:lnTo>
                  <a:cubicBezTo>
                    <a:pt x="25746" y="7845"/>
                    <a:pt x="25807" y="7723"/>
                    <a:pt x="25837" y="7632"/>
                  </a:cubicBezTo>
                  <a:lnTo>
                    <a:pt x="25837" y="7632"/>
                  </a:lnTo>
                  <a:cubicBezTo>
                    <a:pt x="25776" y="7723"/>
                    <a:pt x="25716" y="7814"/>
                    <a:pt x="25655" y="7905"/>
                  </a:cubicBezTo>
                  <a:lnTo>
                    <a:pt x="25138" y="8696"/>
                  </a:lnTo>
                  <a:cubicBezTo>
                    <a:pt x="24895" y="9030"/>
                    <a:pt x="24621" y="9456"/>
                    <a:pt x="24287" y="9912"/>
                  </a:cubicBezTo>
                  <a:cubicBezTo>
                    <a:pt x="23892" y="10459"/>
                    <a:pt x="23406" y="10915"/>
                    <a:pt x="22858" y="11249"/>
                  </a:cubicBezTo>
                  <a:cubicBezTo>
                    <a:pt x="22232" y="11619"/>
                    <a:pt x="21499" y="11829"/>
                    <a:pt x="20759" y="11829"/>
                  </a:cubicBezTo>
                  <a:cubicBezTo>
                    <a:pt x="20709" y="11829"/>
                    <a:pt x="20659" y="11828"/>
                    <a:pt x="20609" y="11826"/>
                  </a:cubicBezTo>
                  <a:cubicBezTo>
                    <a:pt x="19697" y="11826"/>
                    <a:pt x="18785" y="11675"/>
                    <a:pt x="17904" y="11371"/>
                  </a:cubicBezTo>
                  <a:cubicBezTo>
                    <a:pt x="16080" y="10793"/>
                    <a:pt x="14287" y="9577"/>
                    <a:pt x="12585" y="8118"/>
                  </a:cubicBezTo>
                  <a:cubicBezTo>
                    <a:pt x="11794" y="7419"/>
                    <a:pt x="11035" y="6629"/>
                    <a:pt x="10305" y="5808"/>
                  </a:cubicBezTo>
                  <a:cubicBezTo>
                    <a:pt x="9667" y="5018"/>
                    <a:pt x="9059" y="4228"/>
                    <a:pt x="8512" y="3377"/>
                  </a:cubicBezTo>
                  <a:cubicBezTo>
                    <a:pt x="7995" y="2586"/>
                    <a:pt x="7387" y="1887"/>
                    <a:pt x="6688" y="1279"/>
                  </a:cubicBezTo>
                  <a:cubicBezTo>
                    <a:pt x="6080" y="732"/>
                    <a:pt x="5351" y="337"/>
                    <a:pt x="4560" y="155"/>
                  </a:cubicBezTo>
                  <a:cubicBezTo>
                    <a:pt x="4127" y="52"/>
                    <a:pt x="3685" y="1"/>
                    <a:pt x="324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0" name="Google Shape;488;g191abe3b490_12_4485"/>
            <p:cNvSpPr/>
            <p:nvPr/>
          </p:nvSpPr>
          <p:spPr>
            <a:xfrm>
              <a:off x="4371175" y="2231775"/>
              <a:ext cx="155800" cy="59600"/>
            </a:xfrm>
            <a:custGeom>
              <a:avLst/>
              <a:ahLst/>
              <a:rect l="l" t="t" r="r" b="b"/>
              <a:pathLst>
                <a:path w="6232" h="2384" extrusionOk="0">
                  <a:moveTo>
                    <a:pt x="5938" y="0"/>
                  </a:moveTo>
                  <a:cubicBezTo>
                    <a:pt x="5701" y="0"/>
                    <a:pt x="5465" y="22"/>
                    <a:pt x="5228" y="43"/>
                  </a:cubicBezTo>
                  <a:cubicBezTo>
                    <a:pt x="3617" y="195"/>
                    <a:pt x="2067" y="803"/>
                    <a:pt x="760" y="1745"/>
                  </a:cubicBezTo>
                  <a:cubicBezTo>
                    <a:pt x="487" y="1958"/>
                    <a:pt x="243" y="2171"/>
                    <a:pt x="0" y="2384"/>
                  </a:cubicBezTo>
                  <a:lnTo>
                    <a:pt x="213" y="2232"/>
                  </a:lnTo>
                  <a:cubicBezTo>
                    <a:pt x="335" y="2110"/>
                    <a:pt x="547" y="1958"/>
                    <a:pt x="791" y="1776"/>
                  </a:cubicBezTo>
                  <a:cubicBezTo>
                    <a:pt x="2098" y="834"/>
                    <a:pt x="3617" y="256"/>
                    <a:pt x="5228" y="74"/>
                  </a:cubicBezTo>
                  <a:cubicBezTo>
                    <a:pt x="5532" y="43"/>
                    <a:pt x="5775" y="13"/>
                    <a:pt x="5958" y="13"/>
                  </a:cubicBezTo>
                  <a:lnTo>
                    <a:pt x="6231" y="13"/>
                  </a:lnTo>
                  <a:cubicBezTo>
                    <a:pt x="6133" y="4"/>
                    <a:pt x="6035" y="0"/>
                    <a:pt x="5938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1" name="Google Shape;489;g191abe3b490_12_4485"/>
            <p:cNvSpPr/>
            <p:nvPr/>
          </p:nvSpPr>
          <p:spPr>
            <a:xfrm>
              <a:off x="4520875" y="2324025"/>
              <a:ext cx="158075" cy="76025"/>
            </a:xfrm>
            <a:custGeom>
              <a:avLst/>
              <a:ahLst/>
              <a:rect l="l" t="t" r="r" b="b"/>
              <a:pathLst>
                <a:path w="6323" h="3041" extrusionOk="0">
                  <a:moveTo>
                    <a:pt x="6322" y="1"/>
                  </a:moveTo>
                  <a:lnTo>
                    <a:pt x="6322" y="1"/>
                  </a:lnTo>
                  <a:cubicBezTo>
                    <a:pt x="5988" y="31"/>
                    <a:pt x="5623" y="92"/>
                    <a:pt x="5289" y="153"/>
                  </a:cubicBezTo>
                  <a:cubicBezTo>
                    <a:pt x="4468" y="305"/>
                    <a:pt x="3648" y="578"/>
                    <a:pt x="2888" y="943"/>
                  </a:cubicBezTo>
                  <a:cubicBezTo>
                    <a:pt x="2128" y="1308"/>
                    <a:pt x="1398" y="1764"/>
                    <a:pt x="760" y="2311"/>
                  </a:cubicBezTo>
                  <a:cubicBezTo>
                    <a:pt x="487" y="2554"/>
                    <a:pt x="243" y="2797"/>
                    <a:pt x="0" y="3040"/>
                  </a:cubicBezTo>
                  <a:lnTo>
                    <a:pt x="213" y="2858"/>
                  </a:lnTo>
                  <a:cubicBezTo>
                    <a:pt x="335" y="2736"/>
                    <a:pt x="547" y="2554"/>
                    <a:pt x="790" y="2341"/>
                  </a:cubicBezTo>
                  <a:cubicBezTo>
                    <a:pt x="1429" y="1794"/>
                    <a:pt x="2158" y="1338"/>
                    <a:pt x="2918" y="973"/>
                  </a:cubicBezTo>
                  <a:cubicBezTo>
                    <a:pt x="3678" y="609"/>
                    <a:pt x="4468" y="335"/>
                    <a:pt x="5289" y="183"/>
                  </a:cubicBezTo>
                  <a:cubicBezTo>
                    <a:pt x="5623" y="122"/>
                    <a:pt x="5867" y="62"/>
                    <a:pt x="6049" y="31"/>
                  </a:cubicBezTo>
                  <a:lnTo>
                    <a:pt x="6322" y="1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2" name="Google Shape;490;g191abe3b490_12_4485"/>
            <p:cNvSpPr/>
            <p:nvPr/>
          </p:nvSpPr>
          <p:spPr>
            <a:xfrm>
              <a:off x="4672075" y="2375700"/>
              <a:ext cx="78300" cy="164925"/>
            </a:xfrm>
            <a:custGeom>
              <a:avLst/>
              <a:ahLst/>
              <a:rect l="l" t="t" r="r" b="b"/>
              <a:pathLst>
                <a:path w="3132" h="6597" extrusionOk="0">
                  <a:moveTo>
                    <a:pt x="3132" y="1"/>
                  </a:moveTo>
                  <a:cubicBezTo>
                    <a:pt x="3131" y="1"/>
                    <a:pt x="2797" y="305"/>
                    <a:pt x="2372" y="821"/>
                  </a:cubicBezTo>
                  <a:cubicBezTo>
                    <a:pt x="1764" y="1460"/>
                    <a:pt x="1217" y="2189"/>
                    <a:pt x="791" y="2949"/>
                  </a:cubicBezTo>
                  <a:cubicBezTo>
                    <a:pt x="335" y="3739"/>
                    <a:pt x="92" y="4590"/>
                    <a:pt x="31" y="5502"/>
                  </a:cubicBezTo>
                  <a:cubicBezTo>
                    <a:pt x="1" y="5776"/>
                    <a:pt x="1" y="6019"/>
                    <a:pt x="62" y="6293"/>
                  </a:cubicBezTo>
                  <a:cubicBezTo>
                    <a:pt x="31" y="6019"/>
                    <a:pt x="31" y="5776"/>
                    <a:pt x="62" y="5502"/>
                  </a:cubicBezTo>
                  <a:cubicBezTo>
                    <a:pt x="123" y="4621"/>
                    <a:pt x="396" y="3739"/>
                    <a:pt x="852" y="2979"/>
                  </a:cubicBezTo>
                  <a:cubicBezTo>
                    <a:pt x="1278" y="2220"/>
                    <a:pt x="1794" y="1490"/>
                    <a:pt x="2402" y="821"/>
                  </a:cubicBezTo>
                  <a:lnTo>
                    <a:pt x="2919" y="244"/>
                  </a:lnTo>
                  <a:lnTo>
                    <a:pt x="3132" y="1"/>
                  </a:lnTo>
                  <a:close/>
                  <a:moveTo>
                    <a:pt x="62" y="6293"/>
                  </a:moveTo>
                  <a:cubicBezTo>
                    <a:pt x="62" y="6375"/>
                    <a:pt x="62" y="6457"/>
                    <a:pt x="84" y="6494"/>
                  </a:cubicBezTo>
                  <a:lnTo>
                    <a:pt x="84" y="6494"/>
                  </a:lnTo>
                  <a:cubicBezTo>
                    <a:pt x="75" y="6426"/>
                    <a:pt x="62" y="6353"/>
                    <a:pt x="62" y="6293"/>
                  </a:cubicBezTo>
                  <a:close/>
                  <a:moveTo>
                    <a:pt x="84" y="6494"/>
                  </a:moveTo>
                  <a:cubicBezTo>
                    <a:pt x="89" y="6530"/>
                    <a:pt x="92" y="6565"/>
                    <a:pt x="92" y="6597"/>
                  </a:cubicBezTo>
                  <a:lnTo>
                    <a:pt x="92" y="6505"/>
                  </a:lnTo>
                  <a:cubicBezTo>
                    <a:pt x="89" y="6502"/>
                    <a:pt x="86" y="6499"/>
                    <a:pt x="84" y="649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3" name="Google Shape;491;g191abe3b490_12_4485"/>
            <p:cNvSpPr/>
            <p:nvPr/>
          </p:nvSpPr>
          <p:spPr>
            <a:xfrm>
              <a:off x="4836225" y="2393175"/>
              <a:ext cx="5350" cy="51700"/>
            </a:xfrm>
            <a:custGeom>
              <a:avLst/>
              <a:ahLst/>
              <a:rect l="l" t="t" r="r" b="b"/>
              <a:pathLst>
                <a:path w="214" h="2068" extrusionOk="0">
                  <a:moveTo>
                    <a:pt x="183" y="1"/>
                  </a:moveTo>
                  <a:lnTo>
                    <a:pt x="183" y="1"/>
                  </a:lnTo>
                  <a:cubicBezTo>
                    <a:pt x="152" y="92"/>
                    <a:pt x="122" y="183"/>
                    <a:pt x="92" y="305"/>
                  </a:cubicBezTo>
                  <a:cubicBezTo>
                    <a:pt x="0" y="791"/>
                    <a:pt x="0" y="1277"/>
                    <a:pt x="122" y="1764"/>
                  </a:cubicBezTo>
                  <a:cubicBezTo>
                    <a:pt x="152" y="1885"/>
                    <a:pt x="183" y="1977"/>
                    <a:pt x="213" y="2068"/>
                  </a:cubicBezTo>
                  <a:cubicBezTo>
                    <a:pt x="213" y="2068"/>
                    <a:pt x="183" y="1946"/>
                    <a:pt x="152" y="1764"/>
                  </a:cubicBezTo>
                  <a:cubicBezTo>
                    <a:pt x="31" y="1277"/>
                    <a:pt x="31" y="791"/>
                    <a:pt x="122" y="305"/>
                  </a:cubicBezTo>
                  <a:cubicBezTo>
                    <a:pt x="152" y="123"/>
                    <a:pt x="183" y="1"/>
                    <a:pt x="18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4" name="Google Shape;492;g191abe3b490_12_4485"/>
            <p:cNvSpPr/>
            <p:nvPr/>
          </p:nvSpPr>
          <p:spPr>
            <a:xfrm>
              <a:off x="4805075" y="2453225"/>
              <a:ext cx="66125" cy="107150"/>
            </a:xfrm>
            <a:custGeom>
              <a:avLst/>
              <a:ahLst/>
              <a:rect l="l" t="t" r="r" b="b"/>
              <a:pathLst>
                <a:path w="2645" h="4286" extrusionOk="0">
                  <a:moveTo>
                    <a:pt x="0" y="0"/>
                  </a:moveTo>
                  <a:cubicBezTo>
                    <a:pt x="0" y="0"/>
                    <a:pt x="0" y="35"/>
                    <a:pt x="13" y="104"/>
                  </a:cubicBezTo>
                  <a:lnTo>
                    <a:pt x="13" y="104"/>
                  </a:lnTo>
                  <a:cubicBezTo>
                    <a:pt x="9" y="69"/>
                    <a:pt x="5" y="35"/>
                    <a:pt x="0" y="0"/>
                  </a:cubicBezTo>
                  <a:close/>
                  <a:moveTo>
                    <a:pt x="13" y="104"/>
                  </a:moveTo>
                  <a:cubicBezTo>
                    <a:pt x="40" y="313"/>
                    <a:pt x="70" y="525"/>
                    <a:pt x="122" y="760"/>
                  </a:cubicBezTo>
                  <a:cubicBezTo>
                    <a:pt x="426" y="1945"/>
                    <a:pt x="1094" y="3040"/>
                    <a:pt x="2037" y="3830"/>
                  </a:cubicBezTo>
                  <a:cubicBezTo>
                    <a:pt x="2207" y="4000"/>
                    <a:pt x="2403" y="4143"/>
                    <a:pt x="2601" y="4261"/>
                  </a:cubicBezTo>
                  <a:lnTo>
                    <a:pt x="2601" y="4261"/>
                  </a:lnTo>
                  <a:cubicBezTo>
                    <a:pt x="2571" y="4242"/>
                    <a:pt x="2525" y="4211"/>
                    <a:pt x="2462" y="4164"/>
                  </a:cubicBezTo>
                  <a:cubicBezTo>
                    <a:pt x="2310" y="4043"/>
                    <a:pt x="2189" y="3921"/>
                    <a:pt x="2037" y="3800"/>
                  </a:cubicBezTo>
                  <a:cubicBezTo>
                    <a:pt x="1125" y="2979"/>
                    <a:pt x="456" y="1915"/>
                    <a:pt x="152" y="730"/>
                  </a:cubicBezTo>
                  <a:cubicBezTo>
                    <a:pt x="91" y="517"/>
                    <a:pt x="91" y="304"/>
                    <a:pt x="31" y="182"/>
                  </a:cubicBezTo>
                  <a:cubicBezTo>
                    <a:pt x="23" y="153"/>
                    <a:pt x="17" y="126"/>
                    <a:pt x="13" y="104"/>
                  </a:cubicBezTo>
                  <a:close/>
                  <a:moveTo>
                    <a:pt x="2601" y="4261"/>
                  </a:moveTo>
                  <a:cubicBezTo>
                    <a:pt x="2630" y="4279"/>
                    <a:pt x="2645" y="4286"/>
                    <a:pt x="2645" y="4286"/>
                  </a:cubicBezTo>
                  <a:cubicBezTo>
                    <a:pt x="2630" y="4278"/>
                    <a:pt x="2616" y="4269"/>
                    <a:pt x="2601" y="426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5" name="Google Shape;493;g191abe3b490_12_4485"/>
            <p:cNvSpPr/>
            <p:nvPr/>
          </p:nvSpPr>
          <p:spPr>
            <a:xfrm>
              <a:off x="4924375" y="2370375"/>
              <a:ext cx="71450" cy="57025"/>
            </a:xfrm>
            <a:custGeom>
              <a:avLst/>
              <a:ahLst/>
              <a:rect l="l" t="t" r="r" b="b"/>
              <a:pathLst>
                <a:path w="2858" h="228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152" y="183"/>
                    <a:pt x="395" y="426"/>
                  </a:cubicBezTo>
                  <a:cubicBezTo>
                    <a:pt x="699" y="730"/>
                    <a:pt x="1034" y="1034"/>
                    <a:pt x="1399" y="1338"/>
                  </a:cubicBezTo>
                  <a:cubicBezTo>
                    <a:pt x="1733" y="1612"/>
                    <a:pt x="2098" y="1855"/>
                    <a:pt x="2493" y="2098"/>
                  </a:cubicBezTo>
                  <a:cubicBezTo>
                    <a:pt x="2649" y="2177"/>
                    <a:pt x="2774" y="2239"/>
                    <a:pt x="2858" y="2281"/>
                  </a:cubicBezTo>
                  <a:lnTo>
                    <a:pt x="2493" y="2068"/>
                  </a:lnTo>
                  <a:cubicBezTo>
                    <a:pt x="2128" y="1825"/>
                    <a:pt x="1733" y="1582"/>
                    <a:pt x="1399" y="1308"/>
                  </a:cubicBezTo>
                  <a:cubicBezTo>
                    <a:pt x="1034" y="1004"/>
                    <a:pt x="699" y="730"/>
                    <a:pt x="395" y="396"/>
                  </a:cubicBezTo>
                  <a:lnTo>
                    <a:pt x="122" y="9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6" name="Google Shape;494;g191abe3b490_12_4485"/>
            <p:cNvSpPr/>
            <p:nvPr/>
          </p:nvSpPr>
          <p:spPr>
            <a:xfrm>
              <a:off x="5078625" y="2325550"/>
              <a:ext cx="12175" cy="91225"/>
            </a:xfrm>
            <a:custGeom>
              <a:avLst/>
              <a:ahLst/>
              <a:rect l="l" t="t" r="r" b="b"/>
              <a:pathLst>
                <a:path w="487" h="3649" extrusionOk="0">
                  <a:moveTo>
                    <a:pt x="1" y="1"/>
                  </a:moveTo>
                  <a:lnTo>
                    <a:pt x="92" y="426"/>
                  </a:lnTo>
                  <a:cubicBezTo>
                    <a:pt x="153" y="730"/>
                    <a:pt x="244" y="1216"/>
                    <a:pt x="335" y="1733"/>
                  </a:cubicBezTo>
                  <a:cubicBezTo>
                    <a:pt x="396" y="2250"/>
                    <a:pt x="457" y="2736"/>
                    <a:pt x="457" y="3071"/>
                  </a:cubicBezTo>
                  <a:cubicBezTo>
                    <a:pt x="457" y="3223"/>
                    <a:pt x="457" y="3405"/>
                    <a:pt x="457" y="3496"/>
                  </a:cubicBezTo>
                  <a:lnTo>
                    <a:pt x="457" y="3648"/>
                  </a:lnTo>
                  <a:cubicBezTo>
                    <a:pt x="457" y="3648"/>
                    <a:pt x="487" y="3587"/>
                    <a:pt x="487" y="3466"/>
                  </a:cubicBezTo>
                  <a:lnTo>
                    <a:pt x="487" y="3071"/>
                  </a:lnTo>
                  <a:cubicBezTo>
                    <a:pt x="457" y="2615"/>
                    <a:pt x="426" y="2159"/>
                    <a:pt x="365" y="1733"/>
                  </a:cubicBezTo>
                  <a:cubicBezTo>
                    <a:pt x="274" y="1186"/>
                    <a:pt x="183" y="730"/>
                    <a:pt x="122" y="396"/>
                  </a:cubicBezTo>
                  <a:cubicBezTo>
                    <a:pt x="61" y="244"/>
                    <a:pt x="61" y="92"/>
                    <a:pt x="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7" name="Google Shape;495;g191abe3b490_12_4485"/>
            <p:cNvSpPr/>
            <p:nvPr/>
          </p:nvSpPr>
          <p:spPr>
            <a:xfrm>
              <a:off x="5192600" y="2351400"/>
              <a:ext cx="16000" cy="76750"/>
            </a:xfrm>
            <a:custGeom>
              <a:avLst/>
              <a:ahLst/>
              <a:rect l="l" t="t" r="r" b="b"/>
              <a:pathLst>
                <a:path w="640" h="3070" extrusionOk="0">
                  <a:moveTo>
                    <a:pt x="639" y="0"/>
                  </a:moveTo>
                  <a:lnTo>
                    <a:pt x="609" y="122"/>
                  </a:lnTo>
                  <a:cubicBezTo>
                    <a:pt x="609" y="243"/>
                    <a:pt x="579" y="365"/>
                    <a:pt x="579" y="456"/>
                  </a:cubicBezTo>
                  <a:cubicBezTo>
                    <a:pt x="548" y="730"/>
                    <a:pt x="487" y="1125"/>
                    <a:pt x="396" y="1550"/>
                  </a:cubicBezTo>
                  <a:cubicBezTo>
                    <a:pt x="305" y="1976"/>
                    <a:pt x="214" y="2371"/>
                    <a:pt x="123" y="2644"/>
                  </a:cubicBezTo>
                  <a:cubicBezTo>
                    <a:pt x="92" y="2736"/>
                    <a:pt x="62" y="2857"/>
                    <a:pt x="31" y="2948"/>
                  </a:cubicBezTo>
                  <a:cubicBezTo>
                    <a:pt x="31" y="3009"/>
                    <a:pt x="1" y="3040"/>
                    <a:pt x="1" y="3070"/>
                  </a:cubicBezTo>
                  <a:cubicBezTo>
                    <a:pt x="1" y="3070"/>
                    <a:pt x="1" y="3070"/>
                    <a:pt x="62" y="2979"/>
                  </a:cubicBezTo>
                  <a:cubicBezTo>
                    <a:pt x="92" y="2857"/>
                    <a:pt x="123" y="2736"/>
                    <a:pt x="153" y="2644"/>
                  </a:cubicBezTo>
                  <a:cubicBezTo>
                    <a:pt x="244" y="2371"/>
                    <a:pt x="335" y="1976"/>
                    <a:pt x="427" y="1550"/>
                  </a:cubicBezTo>
                  <a:cubicBezTo>
                    <a:pt x="518" y="1125"/>
                    <a:pt x="579" y="760"/>
                    <a:pt x="609" y="456"/>
                  </a:cubicBezTo>
                  <a:cubicBezTo>
                    <a:pt x="609" y="365"/>
                    <a:pt x="639" y="243"/>
                    <a:pt x="639" y="122"/>
                  </a:cubicBezTo>
                  <a:cubicBezTo>
                    <a:pt x="639" y="91"/>
                    <a:pt x="639" y="30"/>
                    <a:pt x="639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8" name="Google Shape;496;g191abe3b490_12_4485"/>
            <p:cNvSpPr/>
            <p:nvPr/>
          </p:nvSpPr>
          <p:spPr>
            <a:xfrm>
              <a:off x="5289125" y="2399250"/>
              <a:ext cx="6100" cy="30425"/>
            </a:xfrm>
            <a:custGeom>
              <a:avLst/>
              <a:ahLst/>
              <a:rect l="l" t="t" r="r" b="b"/>
              <a:pathLst>
                <a:path w="244" h="1217" extrusionOk="0">
                  <a:moveTo>
                    <a:pt x="243" y="1"/>
                  </a:moveTo>
                  <a:lnTo>
                    <a:pt x="243" y="1"/>
                  </a:lnTo>
                  <a:cubicBezTo>
                    <a:pt x="183" y="183"/>
                    <a:pt x="152" y="396"/>
                    <a:pt x="122" y="609"/>
                  </a:cubicBezTo>
                  <a:cubicBezTo>
                    <a:pt x="61" y="822"/>
                    <a:pt x="31" y="1034"/>
                    <a:pt x="0" y="1217"/>
                  </a:cubicBezTo>
                  <a:cubicBezTo>
                    <a:pt x="61" y="1034"/>
                    <a:pt x="122" y="822"/>
                    <a:pt x="152" y="609"/>
                  </a:cubicBezTo>
                  <a:cubicBezTo>
                    <a:pt x="183" y="427"/>
                    <a:pt x="243" y="214"/>
                    <a:pt x="24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19" name="Google Shape;497;g191abe3b490_12_4485"/>
            <p:cNvSpPr/>
            <p:nvPr/>
          </p:nvSpPr>
          <p:spPr>
            <a:xfrm>
              <a:off x="5422100" y="2430425"/>
              <a:ext cx="2300" cy="44100"/>
            </a:xfrm>
            <a:custGeom>
              <a:avLst/>
              <a:ahLst/>
              <a:rect l="l" t="t" r="r" b="b"/>
              <a:pathLst>
                <a:path w="92" h="1764" extrusionOk="0">
                  <a:moveTo>
                    <a:pt x="61" y="0"/>
                  </a:moveTo>
                  <a:cubicBezTo>
                    <a:pt x="61" y="0"/>
                    <a:pt x="61" y="31"/>
                    <a:pt x="61" y="61"/>
                  </a:cubicBezTo>
                  <a:lnTo>
                    <a:pt x="61" y="243"/>
                  </a:lnTo>
                  <a:lnTo>
                    <a:pt x="61" y="882"/>
                  </a:lnTo>
                  <a:cubicBezTo>
                    <a:pt x="61" y="1069"/>
                    <a:pt x="61" y="1238"/>
                    <a:pt x="47" y="1375"/>
                  </a:cubicBezTo>
                  <a:lnTo>
                    <a:pt x="47" y="1375"/>
                  </a:lnTo>
                  <a:cubicBezTo>
                    <a:pt x="71" y="1209"/>
                    <a:pt x="92" y="1055"/>
                    <a:pt x="92" y="882"/>
                  </a:cubicBezTo>
                  <a:lnTo>
                    <a:pt x="92" y="243"/>
                  </a:lnTo>
                  <a:cubicBezTo>
                    <a:pt x="92" y="152"/>
                    <a:pt x="92" y="61"/>
                    <a:pt x="61" y="0"/>
                  </a:cubicBezTo>
                  <a:close/>
                  <a:moveTo>
                    <a:pt x="47" y="1375"/>
                  </a:moveTo>
                  <a:lnTo>
                    <a:pt x="47" y="1375"/>
                  </a:lnTo>
                  <a:cubicBezTo>
                    <a:pt x="42" y="1412"/>
                    <a:pt x="36" y="1451"/>
                    <a:pt x="31" y="1490"/>
                  </a:cubicBezTo>
                  <a:cubicBezTo>
                    <a:pt x="38" y="1455"/>
                    <a:pt x="43" y="1416"/>
                    <a:pt x="47" y="1375"/>
                  </a:cubicBezTo>
                  <a:close/>
                  <a:moveTo>
                    <a:pt x="31" y="1490"/>
                  </a:moveTo>
                  <a:lnTo>
                    <a:pt x="31" y="1490"/>
                  </a:lnTo>
                  <a:cubicBezTo>
                    <a:pt x="0" y="1642"/>
                    <a:pt x="0" y="1763"/>
                    <a:pt x="0" y="1763"/>
                  </a:cubicBezTo>
                  <a:cubicBezTo>
                    <a:pt x="31" y="1672"/>
                    <a:pt x="31" y="1581"/>
                    <a:pt x="31" y="149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0" name="Google Shape;498;g191abe3b490_12_4485"/>
            <p:cNvSpPr/>
            <p:nvPr/>
          </p:nvSpPr>
          <p:spPr>
            <a:xfrm>
              <a:off x="5082425" y="2425100"/>
              <a:ext cx="367050" cy="140900"/>
            </a:xfrm>
            <a:custGeom>
              <a:avLst/>
              <a:ahLst/>
              <a:rect l="l" t="t" r="r" b="b"/>
              <a:pathLst>
                <a:path w="14682" h="5636" extrusionOk="0">
                  <a:moveTo>
                    <a:pt x="14606" y="3138"/>
                  </a:moveTo>
                  <a:lnTo>
                    <a:pt x="14606" y="3138"/>
                  </a:lnTo>
                  <a:cubicBezTo>
                    <a:pt x="14611" y="3156"/>
                    <a:pt x="14616" y="3174"/>
                    <a:pt x="14621" y="3192"/>
                  </a:cubicBezTo>
                  <a:lnTo>
                    <a:pt x="14682" y="3162"/>
                  </a:lnTo>
                  <a:cubicBezTo>
                    <a:pt x="14657" y="3153"/>
                    <a:pt x="14632" y="3146"/>
                    <a:pt x="14606" y="3138"/>
                  </a:cubicBezTo>
                  <a:close/>
                  <a:moveTo>
                    <a:pt x="730" y="0"/>
                  </a:moveTo>
                  <a:cubicBezTo>
                    <a:pt x="244" y="882"/>
                    <a:pt x="1" y="1885"/>
                    <a:pt x="1" y="2918"/>
                  </a:cubicBezTo>
                  <a:lnTo>
                    <a:pt x="912" y="2918"/>
                  </a:lnTo>
                  <a:cubicBezTo>
                    <a:pt x="1095" y="4195"/>
                    <a:pt x="2250" y="5198"/>
                    <a:pt x="3527" y="5441"/>
                  </a:cubicBezTo>
                  <a:cubicBezTo>
                    <a:pt x="4089" y="5562"/>
                    <a:pt x="4564" y="5635"/>
                    <a:pt x="5020" y="5635"/>
                  </a:cubicBezTo>
                  <a:cubicBezTo>
                    <a:pt x="5598" y="5635"/>
                    <a:pt x="6147" y="5517"/>
                    <a:pt x="6809" y="5228"/>
                  </a:cubicBezTo>
                  <a:cubicBezTo>
                    <a:pt x="8055" y="4681"/>
                    <a:pt x="9666" y="3830"/>
                    <a:pt x="10882" y="3405"/>
                  </a:cubicBezTo>
                  <a:cubicBezTo>
                    <a:pt x="11668" y="3136"/>
                    <a:pt x="12490" y="2953"/>
                    <a:pt x="13296" y="2953"/>
                  </a:cubicBezTo>
                  <a:cubicBezTo>
                    <a:pt x="13741" y="2953"/>
                    <a:pt x="14181" y="3009"/>
                    <a:pt x="14606" y="3138"/>
                  </a:cubicBezTo>
                  <a:lnTo>
                    <a:pt x="14606" y="3138"/>
                  </a:lnTo>
                  <a:cubicBezTo>
                    <a:pt x="14158" y="1527"/>
                    <a:pt x="12475" y="484"/>
                    <a:pt x="10821" y="213"/>
                  </a:cubicBezTo>
                  <a:cubicBezTo>
                    <a:pt x="10389" y="144"/>
                    <a:pt x="9956" y="115"/>
                    <a:pt x="9523" y="115"/>
                  </a:cubicBezTo>
                  <a:cubicBezTo>
                    <a:pt x="8254" y="115"/>
                    <a:pt x="6984" y="358"/>
                    <a:pt x="5715" y="517"/>
                  </a:cubicBezTo>
                  <a:cubicBezTo>
                    <a:pt x="5087" y="597"/>
                    <a:pt x="4438" y="656"/>
                    <a:pt x="3793" y="656"/>
                  </a:cubicBezTo>
                  <a:cubicBezTo>
                    <a:pt x="2721" y="656"/>
                    <a:pt x="1660" y="494"/>
                    <a:pt x="7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1" name="Google Shape;499;g191abe3b490_12_4485"/>
            <p:cNvSpPr/>
            <p:nvPr/>
          </p:nvSpPr>
          <p:spPr>
            <a:xfrm>
              <a:off x="5104475" y="2434975"/>
              <a:ext cx="18250" cy="63100"/>
            </a:xfrm>
            <a:custGeom>
              <a:avLst/>
              <a:ahLst/>
              <a:rect l="l" t="t" r="r" b="b"/>
              <a:pathLst>
                <a:path w="730" h="2524" extrusionOk="0">
                  <a:moveTo>
                    <a:pt x="730" y="1"/>
                  </a:moveTo>
                  <a:lnTo>
                    <a:pt x="730" y="1"/>
                  </a:lnTo>
                  <a:cubicBezTo>
                    <a:pt x="638" y="92"/>
                    <a:pt x="578" y="213"/>
                    <a:pt x="517" y="335"/>
                  </a:cubicBezTo>
                  <a:cubicBezTo>
                    <a:pt x="395" y="608"/>
                    <a:pt x="274" y="912"/>
                    <a:pt x="182" y="1216"/>
                  </a:cubicBezTo>
                  <a:cubicBezTo>
                    <a:pt x="91" y="1490"/>
                    <a:pt x="61" y="1824"/>
                    <a:pt x="30" y="2128"/>
                  </a:cubicBezTo>
                  <a:cubicBezTo>
                    <a:pt x="0" y="2250"/>
                    <a:pt x="0" y="2371"/>
                    <a:pt x="30" y="2523"/>
                  </a:cubicBezTo>
                  <a:cubicBezTo>
                    <a:pt x="61" y="2371"/>
                    <a:pt x="61" y="2250"/>
                    <a:pt x="61" y="2128"/>
                  </a:cubicBezTo>
                  <a:cubicBezTo>
                    <a:pt x="122" y="1824"/>
                    <a:pt x="182" y="1520"/>
                    <a:pt x="274" y="1216"/>
                  </a:cubicBezTo>
                  <a:cubicBezTo>
                    <a:pt x="334" y="912"/>
                    <a:pt x="456" y="639"/>
                    <a:pt x="578" y="365"/>
                  </a:cubicBezTo>
                  <a:cubicBezTo>
                    <a:pt x="638" y="244"/>
                    <a:pt x="669" y="122"/>
                    <a:pt x="73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2" name="Google Shape;500;g191abe3b490_12_4485"/>
            <p:cNvSpPr/>
            <p:nvPr/>
          </p:nvSpPr>
          <p:spPr>
            <a:xfrm>
              <a:off x="5083200" y="2476200"/>
              <a:ext cx="23575" cy="3625"/>
            </a:xfrm>
            <a:custGeom>
              <a:avLst/>
              <a:ahLst/>
              <a:rect l="l" t="t" r="r" b="b"/>
              <a:pathLst>
                <a:path w="943" h="145" extrusionOk="0">
                  <a:moveTo>
                    <a:pt x="243" y="1"/>
                  </a:moveTo>
                  <a:cubicBezTo>
                    <a:pt x="160" y="1"/>
                    <a:pt x="76" y="8"/>
                    <a:pt x="0" y="23"/>
                  </a:cubicBezTo>
                  <a:cubicBezTo>
                    <a:pt x="152" y="84"/>
                    <a:pt x="304" y="84"/>
                    <a:pt x="486" y="84"/>
                  </a:cubicBezTo>
                  <a:cubicBezTo>
                    <a:pt x="638" y="115"/>
                    <a:pt x="790" y="145"/>
                    <a:pt x="942" y="145"/>
                  </a:cubicBezTo>
                  <a:cubicBezTo>
                    <a:pt x="790" y="84"/>
                    <a:pt x="638" y="23"/>
                    <a:pt x="486" y="23"/>
                  </a:cubicBezTo>
                  <a:cubicBezTo>
                    <a:pt x="410" y="8"/>
                    <a:pt x="327" y="1"/>
                    <a:pt x="24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3" name="Google Shape;501;g191abe3b490_12_4485"/>
            <p:cNvSpPr/>
            <p:nvPr/>
          </p:nvSpPr>
          <p:spPr>
            <a:xfrm>
              <a:off x="5090775" y="2446000"/>
              <a:ext cx="20550" cy="8000"/>
            </a:xfrm>
            <a:custGeom>
              <a:avLst/>
              <a:ahLst/>
              <a:rect l="l" t="t" r="r" b="b"/>
              <a:pathLst>
                <a:path w="822" h="320" extrusionOk="0">
                  <a:moveTo>
                    <a:pt x="157" y="0"/>
                  </a:moveTo>
                  <a:cubicBezTo>
                    <a:pt x="105" y="0"/>
                    <a:pt x="53" y="5"/>
                    <a:pt x="1" y="15"/>
                  </a:cubicBezTo>
                  <a:cubicBezTo>
                    <a:pt x="1" y="46"/>
                    <a:pt x="183" y="46"/>
                    <a:pt x="427" y="137"/>
                  </a:cubicBezTo>
                  <a:cubicBezTo>
                    <a:pt x="639" y="228"/>
                    <a:pt x="822" y="319"/>
                    <a:pt x="822" y="319"/>
                  </a:cubicBezTo>
                  <a:cubicBezTo>
                    <a:pt x="645" y="118"/>
                    <a:pt x="407" y="0"/>
                    <a:pt x="15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4" name="Google Shape;502;g191abe3b490_12_4485"/>
            <p:cNvSpPr/>
            <p:nvPr/>
          </p:nvSpPr>
          <p:spPr>
            <a:xfrm>
              <a:off x="5105975" y="2427000"/>
              <a:ext cx="346550" cy="138475"/>
            </a:xfrm>
            <a:custGeom>
              <a:avLst/>
              <a:ahLst/>
              <a:rect l="l" t="t" r="r" b="b"/>
              <a:pathLst>
                <a:path w="13862" h="5539" extrusionOk="0">
                  <a:moveTo>
                    <a:pt x="8183" y="0"/>
                  </a:moveTo>
                  <a:cubicBezTo>
                    <a:pt x="7381" y="0"/>
                    <a:pt x="6578" y="84"/>
                    <a:pt x="5776" y="259"/>
                  </a:cubicBezTo>
                  <a:cubicBezTo>
                    <a:pt x="4864" y="441"/>
                    <a:pt x="3952" y="532"/>
                    <a:pt x="3010" y="532"/>
                  </a:cubicBezTo>
                  <a:lnTo>
                    <a:pt x="1977" y="532"/>
                  </a:lnTo>
                  <a:cubicBezTo>
                    <a:pt x="1977" y="532"/>
                    <a:pt x="2341" y="563"/>
                    <a:pt x="3040" y="563"/>
                  </a:cubicBezTo>
                  <a:cubicBezTo>
                    <a:pt x="3952" y="563"/>
                    <a:pt x="4895" y="502"/>
                    <a:pt x="5806" y="320"/>
                  </a:cubicBezTo>
                  <a:cubicBezTo>
                    <a:pt x="6576" y="166"/>
                    <a:pt x="7355" y="89"/>
                    <a:pt x="8138" y="89"/>
                  </a:cubicBezTo>
                  <a:cubicBezTo>
                    <a:pt x="8747" y="89"/>
                    <a:pt x="9359" y="135"/>
                    <a:pt x="9971" y="228"/>
                  </a:cubicBezTo>
                  <a:cubicBezTo>
                    <a:pt x="10791" y="350"/>
                    <a:pt x="11551" y="654"/>
                    <a:pt x="12250" y="1140"/>
                  </a:cubicBezTo>
                  <a:cubicBezTo>
                    <a:pt x="12955" y="1640"/>
                    <a:pt x="13490" y="2338"/>
                    <a:pt x="13772" y="3153"/>
                  </a:cubicBezTo>
                  <a:lnTo>
                    <a:pt x="13772" y="3153"/>
                  </a:lnTo>
                  <a:cubicBezTo>
                    <a:pt x="13424" y="3012"/>
                    <a:pt x="13050" y="2902"/>
                    <a:pt x="12676" y="2873"/>
                  </a:cubicBezTo>
                  <a:cubicBezTo>
                    <a:pt x="12606" y="2871"/>
                    <a:pt x="12536" y="2870"/>
                    <a:pt x="12466" y="2870"/>
                  </a:cubicBezTo>
                  <a:cubicBezTo>
                    <a:pt x="11564" y="2870"/>
                    <a:pt x="10665" y="3051"/>
                    <a:pt x="9819" y="3390"/>
                  </a:cubicBezTo>
                  <a:cubicBezTo>
                    <a:pt x="8968" y="3663"/>
                    <a:pt x="8117" y="4028"/>
                    <a:pt x="7296" y="4393"/>
                  </a:cubicBezTo>
                  <a:cubicBezTo>
                    <a:pt x="6931" y="4575"/>
                    <a:pt x="6536" y="4757"/>
                    <a:pt x="6171" y="4940"/>
                  </a:cubicBezTo>
                  <a:cubicBezTo>
                    <a:pt x="5806" y="5092"/>
                    <a:pt x="5442" y="5244"/>
                    <a:pt x="5077" y="5335"/>
                  </a:cubicBezTo>
                  <a:cubicBezTo>
                    <a:pt x="4634" y="5431"/>
                    <a:pt x="4192" y="5491"/>
                    <a:pt x="3742" y="5491"/>
                  </a:cubicBezTo>
                  <a:cubicBezTo>
                    <a:pt x="3481" y="5491"/>
                    <a:pt x="3217" y="5471"/>
                    <a:pt x="2949" y="5426"/>
                  </a:cubicBezTo>
                  <a:cubicBezTo>
                    <a:pt x="2372" y="5365"/>
                    <a:pt x="1825" y="5152"/>
                    <a:pt x="1338" y="4818"/>
                  </a:cubicBezTo>
                  <a:cubicBezTo>
                    <a:pt x="974" y="4575"/>
                    <a:pt x="670" y="4271"/>
                    <a:pt x="426" y="3906"/>
                  </a:cubicBezTo>
                  <a:cubicBezTo>
                    <a:pt x="244" y="3572"/>
                    <a:pt x="92" y="3207"/>
                    <a:pt x="1" y="2842"/>
                  </a:cubicBezTo>
                  <a:lnTo>
                    <a:pt x="1" y="2842"/>
                  </a:lnTo>
                  <a:cubicBezTo>
                    <a:pt x="1" y="2843"/>
                    <a:pt x="1" y="2964"/>
                    <a:pt x="62" y="3146"/>
                  </a:cubicBezTo>
                  <a:cubicBezTo>
                    <a:pt x="153" y="3420"/>
                    <a:pt x="244" y="3663"/>
                    <a:pt x="396" y="3906"/>
                  </a:cubicBezTo>
                  <a:cubicBezTo>
                    <a:pt x="639" y="4271"/>
                    <a:pt x="943" y="4605"/>
                    <a:pt x="1308" y="4849"/>
                  </a:cubicBezTo>
                  <a:cubicBezTo>
                    <a:pt x="1794" y="5183"/>
                    <a:pt x="2372" y="5396"/>
                    <a:pt x="2949" y="5487"/>
                  </a:cubicBezTo>
                  <a:cubicBezTo>
                    <a:pt x="3211" y="5521"/>
                    <a:pt x="3478" y="5538"/>
                    <a:pt x="3745" y="5538"/>
                  </a:cubicBezTo>
                  <a:cubicBezTo>
                    <a:pt x="4191" y="5538"/>
                    <a:pt x="4640" y="5491"/>
                    <a:pt x="5077" y="5396"/>
                  </a:cubicBezTo>
                  <a:cubicBezTo>
                    <a:pt x="5472" y="5274"/>
                    <a:pt x="5837" y="5152"/>
                    <a:pt x="6202" y="5000"/>
                  </a:cubicBezTo>
                  <a:cubicBezTo>
                    <a:pt x="6566" y="4849"/>
                    <a:pt x="6961" y="4636"/>
                    <a:pt x="7326" y="4453"/>
                  </a:cubicBezTo>
                  <a:cubicBezTo>
                    <a:pt x="8147" y="4089"/>
                    <a:pt x="8998" y="3724"/>
                    <a:pt x="9819" y="3450"/>
                  </a:cubicBezTo>
                  <a:cubicBezTo>
                    <a:pt x="10731" y="3086"/>
                    <a:pt x="11703" y="2934"/>
                    <a:pt x="12645" y="2934"/>
                  </a:cubicBezTo>
                  <a:cubicBezTo>
                    <a:pt x="13041" y="2964"/>
                    <a:pt x="13436" y="3086"/>
                    <a:pt x="13801" y="3268"/>
                  </a:cubicBezTo>
                  <a:lnTo>
                    <a:pt x="13861" y="3298"/>
                  </a:lnTo>
                  <a:lnTo>
                    <a:pt x="13861" y="3207"/>
                  </a:lnTo>
                  <a:cubicBezTo>
                    <a:pt x="13557" y="2326"/>
                    <a:pt x="13010" y="1596"/>
                    <a:pt x="12281" y="1049"/>
                  </a:cubicBezTo>
                  <a:cubicBezTo>
                    <a:pt x="11582" y="593"/>
                    <a:pt x="10791" y="259"/>
                    <a:pt x="9971" y="137"/>
                  </a:cubicBezTo>
                  <a:cubicBezTo>
                    <a:pt x="9375" y="47"/>
                    <a:pt x="8779" y="0"/>
                    <a:pt x="818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5" name="Google Shape;503;g191abe3b490_12_4485"/>
            <p:cNvSpPr/>
            <p:nvPr/>
          </p:nvSpPr>
          <p:spPr>
            <a:xfrm>
              <a:off x="5143975" y="2441825"/>
              <a:ext cx="18275" cy="114000"/>
            </a:xfrm>
            <a:custGeom>
              <a:avLst/>
              <a:ahLst/>
              <a:rect l="l" t="t" r="r" b="b"/>
              <a:pathLst>
                <a:path w="731" h="4560" extrusionOk="0">
                  <a:moveTo>
                    <a:pt x="730" y="0"/>
                  </a:moveTo>
                  <a:cubicBezTo>
                    <a:pt x="700" y="31"/>
                    <a:pt x="669" y="91"/>
                    <a:pt x="639" y="152"/>
                  </a:cubicBezTo>
                  <a:cubicBezTo>
                    <a:pt x="578" y="304"/>
                    <a:pt x="487" y="456"/>
                    <a:pt x="457" y="608"/>
                  </a:cubicBezTo>
                  <a:cubicBezTo>
                    <a:pt x="61" y="1672"/>
                    <a:pt x="1" y="2797"/>
                    <a:pt x="213" y="3921"/>
                  </a:cubicBezTo>
                  <a:cubicBezTo>
                    <a:pt x="244" y="4073"/>
                    <a:pt x="305" y="4225"/>
                    <a:pt x="335" y="4407"/>
                  </a:cubicBezTo>
                  <a:cubicBezTo>
                    <a:pt x="365" y="4438"/>
                    <a:pt x="396" y="4499"/>
                    <a:pt x="396" y="4559"/>
                  </a:cubicBezTo>
                  <a:cubicBezTo>
                    <a:pt x="426" y="4559"/>
                    <a:pt x="335" y="4316"/>
                    <a:pt x="274" y="3891"/>
                  </a:cubicBezTo>
                  <a:cubicBezTo>
                    <a:pt x="183" y="3344"/>
                    <a:pt x="153" y="2797"/>
                    <a:pt x="183" y="2249"/>
                  </a:cubicBezTo>
                  <a:cubicBezTo>
                    <a:pt x="213" y="1702"/>
                    <a:pt x="335" y="1155"/>
                    <a:pt x="487" y="638"/>
                  </a:cubicBezTo>
                  <a:cubicBezTo>
                    <a:pt x="639" y="243"/>
                    <a:pt x="730" y="0"/>
                    <a:pt x="730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6" name="Google Shape;504;g191abe3b490_12_4485"/>
            <p:cNvSpPr/>
            <p:nvPr/>
          </p:nvSpPr>
          <p:spPr>
            <a:xfrm>
              <a:off x="5235925" y="2500325"/>
              <a:ext cx="13700" cy="53225"/>
            </a:xfrm>
            <a:custGeom>
              <a:avLst/>
              <a:ahLst/>
              <a:rect l="l" t="t" r="r" b="b"/>
              <a:pathLst>
                <a:path w="548" h="2129" extrusionOk="0">
                  <a:moveTo>
                    <a:pt x="31" y="1"/>
                  </a:moveTo>
                  <a:cubicBezTo>
                    <a:pt x="1" y="92"/>
                    <a:pt x="1" y="213"/>
                    <a:pt x="31" y="335"/>
                  </a:cubicBezTo>
                  <a:cubicBezTo>
                    <a:pt x="61" y="578"/>
                    <a:pt x="92" y="821"/>
                    <a:pt x="153" y="1095"/>
                  </a:cubicBezTo>
                  <a:cubicBezTo>
                    <a:pt x="244" y="1399"/>
                    <a:pt x="335" y="1642"/>
                    <a:pt x="396" y="1855"/>
                  </a:cubicBezTo>
                  <a:cubicBezTo>
                    <a:pt x="426" y="1946"/>
                    <a:pt x="487" y="2037"/>
                    <a:pt x="517" y="2128"/>
                  </a:cubicBezTo>
                  <a:cubicBezTo>
                    <a:pt x="548" y="2128"/>
                    <a:pt x="396" y="1672"/>
                    <a:pt x="244" y="1064"/>
                  </a:cubicBezTo>
                  <a:cubicBezTo>
                    <a:pt x="183" y="791"/>
                    <a:pt x="122" y="517"/>
                    <a:pt x="92" y="305"/>
                  </a:cubicBezTo>
                  <a:cubicBezTo>
                    <a:pt x="61" y="213"/>
                    <a:pt x="61" y="92"/>
                    <a:pt x="3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7" name="Google Shape;505;g191abe3b490_12_4485"/>
            <p:cNvSpPr/>
            <p:nvPr/>
          </p:nvSpPr>
          <p:spPr>
            <a:xfrm>
              <a:off x="5223000" y="2467650"/>
              <a:ext cx="5350" cy="31175"/>
            </a:xfrm>
            <a:custGeom>
              <a:avLst/>
              <a:ahLst/>
              <a:rect l="l" t="t" r="r" b="b"/>
              <a:pathLst>
                <a:path w="214" h="1247" extrusionOk="0">
                  <a:moveTo>
                    <a:pt x="92" y="1"/>
                  </a:moveTo>
                  <a:cubicBezTo>
                    <a:pt x="1" y="426"/>
                    <a:pt x="31" y="852"/>
                    <a:pt x="183" y="1247"/>
                  </a:cubicBezTo>
                  <a:cubicBezTo>
                    <a:pt x="214" y="1247"/>
                    <a:pt x="153" y="973"/>
                    <a:pt x="122" y="639"/>
                  </a:cubicBezTo>
                  <a:cubicBezTo>
                    <a:pt x="122" y="426"/>
                    <a:pt x="92" y="213"/>
                    <a:pt x="92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8" name="Google Shape;506;g191abe3b490_12_4485"/>
            <p:cNvSpPr/>
            <p:nvPr/>
          </p:nvSpPr>
          <p:spPr>
            <a:xfrm>
              <a:off x="5238200" y="2434975"/>
              <a:ext cx="7625" cy="28900"/>
            </a:xfrm>
            <a:custGeom>
              <a:avLst/>
              <a:ahLst/>
              <a:rect l="l" t="t" r="r" b="b"/>
              <a:pathLst>
                <a:path w="305" h="1156" extrusionOk="0">
                  <a:moveTo>
                    <a:pt x="274" y="1"/>
                  </a:moveTo>
                  <a:lnTo>
                    <a:pt x="274" y="1"/>
                  </a:lnTo>
                  <a:cubicBezTo>
                    <a:pt x="153" y="153"/>
                    <a:pt x="92" y="335"/>
                    <a:pt x="62" y="548"/>
                  </a:cubicBezTo>
                  <a:cubicBezTo>
                    <a:pt x="1" y="730"/>
                    <a:pt x="1" y="943"/>
                    <a:pt x="62" y="1156"/>
                  </a:cubicBezTo>
                  <a:cubicBezTo>
                    <a:pt x="92" y="1156"/>
                    <a:pt x="92" y="882"/>
                    <a:pt x="153" y="548"/>
                  </a:cubicBezTo>
                  <a:cubicBezTo>
                    <a:pt x="183" y="244"/>
                    <a:pt x="305" y="1"/>
                    <a:pt x="274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29" name="Google Shape;507;g191abe3b490_12_4485"/>
            <p:cNvSpPr/>
            <p:nvPr/>
          </p:nvSpPr>
          <p:spPr>
            <a:xfrm>
              <a:off x="5302025" y="2428900"/>
              <a:ext cx="9150" cy="24350"/>
            </a:xfrm>
            <a:custGeom>
              <a:avLst/>
              <a:ahLst/>
              <a:rect l="l" t="t" r="r" b="b"/>
              <a:pathLst>
                <a:path w="366" h="974" extrusionOk="0">
                  <a:moveTo>
                    <a:pt x="92" y="0"/>
                  </a:moveTo>
                  <a:cubicBezTo>
                    <a:pt x="1" y="335"/>
                    <a:pt x="92" y="699"/>
                    <a:pt x="335" y="973"/>
                  </a:cubicBezTo>
                  <a:cubicBezTo>
                    <a:pt x="366" y="973"/>
                    <a:pt x="244" y="760"/>
                    <a:pt x="183" y="517"/>
                  </a:cubicBezTo>
                  <a:cubicBezTo>
                    <a:pt x="92" y="244"/>
                    <a:pt x="123" y="0"/>
                    <a:pt x="92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0" name="Google Shape;508;g191abe3b490_12_4485"/>
            <p:cNvSpPr/>
            <p:nvPr/>
          </p:nvSpPr>
          <p:spPr>
            <a:xfrm>
              <a:off x="5337000" y="2448650"/>
              <a:ext cx="25100" cy="57775"/>
            </a:xfrm>
            <a:custGeom>
              <a:avLst/>
              <a:ahLst/>
              <a:rect l="l" t="t" r="r" b="b"/>
              <a:pathLst>
                <a:path w="1004" h="2311" extrusionOk="0">
                  <a:moveTo>
                    <a:pt x="0" y="1"/>
                  </a:moveTo>
                  <a:cubicBezTo>
                    <a:pt x="0" y="122"/>
                    <a:pt x="31" y="244"/>
                    <a:pt x="61" y="365"/>
                  </a:cubicBezTo>
                  <a:cubicBezTo>
                    <a:pt x="152" y="669"/>
                    <a:pt x="243" y="943"/>
                    <a:pt x="365" y="1217"/>
                  </a:cubicBezTo>
                  <a:cubicBezTo>
                    <a:pt x="487" y="1490"/>
                    <a:pt x="608" y="1764"/>
                    <a:pt x="760" y="2007"/>
                  </a:cubicBezTo>
                  <a:cubicBezTo>
                    <a:pt x="821" y="2128"/>
                    <a:pt x="912" y="2220"/>
                    <a:pt x="1003" y="2311"/>
                  </a:cubicBezTo>
                  <a:cubicBezTo>
                    <a:pt x="942" y="2189"/>
                    <a:pt x="882" y="2068"/>
                    <a:pt x="821" y="1976"/>
                  </a:cubicBezTo>
                  <a:cubicBezTo>
                    <a:pt x="699" y="1764"/>
                    <a:pt x="578" y="1490"/>
                    <a:pt x="426" y="1186"/>
                  </a:cubicBezTo>
                  <a:cubicBezTo>
                    <a:pt x="304" y="852"/>
                    <a:pt x="183" y="548"/>
                    <a:pt x="122" y="335"/>
                  </a:cubicBezTo>
                  <a:cubicBezTo>
                    <a:pt x="91" y="213"/>
                    <a:pt x="61" y="92"/>
                    <a:pt x="0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1" name="Google Shape;509;g191abe3b490_12_4485"/>
            <p:cNvSpPr/>
            <p:nvPr/>
          </p:nvSpPr>
          <p:spPr>
            <a:xfrm>
              <a:off x="5368900" y="2437250"/>
              <a:ext cx="6875" cy="8400"/>
            </a:xfrm>
            <a:custGeom>
              <a:avLst/>
              <a:ahLst/>
              <a:rect l="l" t="t" r="r" b="b"/>
              <a:pathLst>
                <a:path w="275" h="336" extrusionOk="0">
                  <a:moveTo>
                    <a:pt x="274" y="1"/>
                  </a:moveTo>
                  <a:lnTo>
                    <a:pt x="274" y="1"/>
                  </a:lnTo>
                  <a:cubicBezTo>
                    <a:pt x="274" y="1"/>
                    <a:pt x="153" y="31"/>
                    <a:pt x="92" y="122"/>
                  </a:cubicBezTo>
                  <a:cubicBezTo>
                    <a:pt x="31" y="244"/>
                    <a:pt x="1" y="335"/>
                    <a:pt x="31" y="335"/>
                  </a:cubicBezTo>
                  <a:cubicBezTo>
                    <a:pt x="62" y="335"/>
                    <a:pt x="92" y="274"/>
                    <a:pt x="153" y="183"/>
                  </a:cubicBezTo>
                  <a:cubicBezTo>
                    <a:pt x="244" y="92"/>
                    <a:pt x="274" y="31"/>
                    <a:pt x="274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2" name="Google Shape;510;g191abe3b490_12_4485"/>
            <p:cNvSpPr/>
            <p:nvPr/>
          </p:nvSpPr>
          <p:spPr>
            <a:xfrm>
              <a:off x="5115900" y="2485775"/>
              <a:ext cx="335100" cy="53475"/>
            </a:xfrm>
            <a:custGeom>
              <a:avLst/>
              <a:ahLst/>
              <a:rect l="l" t="t" r="r" b="b"/>
              <a:pathLst>
                <a:path w="13404" h="2139" extrusionOk="0">
                  <a:moveTo>
                    <a:pt x="11670" y="53"/>
                  </a:moveTo>
                  <a:lnTo>
                    <a:pt x="11670" y="53"/>
                  </a:lnTo>
                  <a:cubicBezTo>
                    <a:pt x="12120" y="127"/>
                    <a:pt x="12588" y="301"/>
                    <a:pt x="12978" y="552"/>
                  </a:cubicBezTo>
                  <a:cubicBezTo>
                    <a:pt x="12999" y="565"/>
                    <a:pt x="13021" y="578"/>
                    <a:pt x="13042" y="592"/>
                  </a:cubicBezTo>
                  <a:lnTo>
                    <a:pt x="13042" y="592"/>
                  </a:lnTo>
                  <a:cubicBezTo>
                    <a:pt x="12629" y="311"/>
                    <a:pt x="12168" y="123"/>
                    <a:pt x="11670" y="53"/>
                  </a:cubicBezTo>
                  <a:close/>
                  <a:moveTo>
                    <a:pt x="13042" y="592"/>
                  </a:moveTo>
                  <a:lnTo>
                    <a:pt x="13042" y="592"/>
                  </a:lnTo>
                  <a:cubicBezTo>
                    <a:pt x="13071" y="612"/>
                    <a:pt x="13099" y="632"/>
                    <a:pt x="13127" y="652"/>
                  </a:cubicBezTo>
                  <a:lnTo>
                    <a:pt x="13127" y="652"/>
                  </a:lnTo>
                  <a:cubicBezTo>
                    <a:pt x="13099" y="631"/>
                    <a:pt x="13071" y="611"/>
                    <a:pt x="13042" y="592"/>
                  </a:cubicBezTo>
                  <a:close/>
                  <a:moveTo>
                    <a:pt x="13127" y="652"/>
                  </a:moveTo>
                  <a:lnTo>
                    <a:pt x="13127" y="652"/>
                  </a:lnTo>
                  <a:cubicBezTo>
                    <a:pt x="13217" y="720"/>
                    <a:pt x="13304" y="798"/>
                    <a:pt x="13380" y="888"/>
                  </a:cubicBezTo>
                  <a:lnTo>
                    <a:pt x="13380" y="888"/>
                  </a:lnTo>
                  <a:cubicBezTo>
                    <a:pt x="13357" y="857"/>
                    <a:pt x="13335" y="818"/>
                    <a:pt x="13312" y="795"/>
                  </a:cubicBezTo>
                  <a:cubicBezTo>
                    <a:pt x="13252" y="746"/>
                    <a:pt x="13190" y="698"/>
                    <a:pt x="13127" y="652"/>
                  </a:cubicBezTo>
                  <a:close/>
                  <a:moveTo>
                    <a:pt x="13380" y="888"/>
                  </a:moveTo>
                  <a:cubicBezTo>
                    <a:pt x="13388" y="899"/>
                    <a:pt x="13396" y="909"/>
                    <a:pt x="13404" y="917"/>
                  </a:cubicBezTo>
                  <a:cubicBezTo>
                    <a:pt x="13396" y="907"/>
                    <a:pt x="13388" y="898"/>
                    <a:pt x="13380" y="888"/>
                  </a:cubicBezTo>
                  <a:close/>
                  <a:moveTo>
                    <a:pt x="10950" y="1"/>
                  </a:moveTo>
                  <a:cubicBezTo>
                    <a:pt x="10373" y="1"/>
                    <a:pt x="9813" y="98"/>
                    <a:pt x="9270" y="279"/>
                  </a:cubicBezTo>
                  <a:cubicBezTo>
                    <a:pt x="8388" y="583"/>
                    <a:pt x="7537" y="917"/>
                    <a:pt x="6686" y="1342"/>
                  </a:cubicBezTo>
                  <a:cubicBezTo>
                    <a:pt x="5865" y="1738"/>
                    <a:pt x="4954" y="1981"/>
                    <a:pt x="4042" y="2102"/>
                  </a:cubicBezTo>
                  <a:cubicBezTo>
                    <a:pt x="4984" y="2011"/>
                    <a:pt x="5865" y="1768"/>
                    <a:pt x="6716" y="1342"/>
                  </a:cubicBezTo>
                  <a:cubicBezTo>
                    <a:pt x="7537" y="947"/>
                    <a:pt x="8419" y="583"/>
                    <a:pt x="9300" y="279"/>
                  </a:cubicBezTo>
                  <a:cubicBezTo>
                    <a:pt x="9834" y="93"/>
                    <a:pt x="10421" y="14"/>
                    <a:pt x="10994" y="14"/>
                  </a:cubicBezTo>
                  <a:cubicBezTo>
                    <a:pt x="11171" y="14"/>
                    <a:pt x="11347" y="21"/>
                    <a:pt x="11519" y="35"/>
                  </a:cubicBezTo>
                  <a:cubicBezTo>
                    <a:pt x="11570" y="40"/>
                    <a:pt x="11620" y="46"/>
                    <a:pt x="11670" y="53"/>
                  </a:cubicBezTo>
                  <a:lnTo>
                    <a:pt x="11670" y="53"/>
                  </a:lnTo>
                  <a:cubicBezTo>
                    <a:pt x="11630" y="46"/>
                    <a:pt x="11589" y="40"/>
                    <a:pt x="11549" y="35"/>
                  </a:cubicBezTo>
                  <a:cubicBezTo>
                    <a:pt x="11348" y="12"/>
                    <a:pt x="11148" y="1"/>
                    <a:pt x="10950" y="1"/>
                  </a:cubicBezTo>
                  <a:close/>
                  <a:moveTo>
                    <a:pt x="1" y="1131"/>
                  </a:moveTo>
                  <a:lnTo>
                    <a:pt x="1" y="1131"/>
                  </a:lnTo>
                  <a:cubicBezTo>
                    <a:pt x="62" y="1192"/>
                    <a:pt x="183" y="1252"/>
                    <a:pt x="333" y="1342"/>
                  </a:cubicBezTo>
                  <a:cubicBezTo>
                    <a:pt x="789" y="1586"/>
                    <a:pt x="1276" y="1798"/>
                    <a:pt x="1762" y="1920"/>
                  </a:cubicBezTo>
                  <a:cubicBezTo>
                    <a:pt x="2318" y="2053"/>
                    <a:pt x="2875" y="2138"/>
                    <a:pt x="3431" y="2138"/>
                  </a:cubicBezTo>
                  <a:cubicBezTo>
                    <a:pt x="3634" y="2138"/>
                    <a:pt x="3838" y="2127"/>
                    <a:pt x="4042" y="2102"/>
                  </a:cubicBezTo>
                  <a:lnTo>
                    <a:pt x="4042" y="2102"/>
                  </a:lnTo>
                  <a:cubicBezTo>
                    <a:pt x="3869" y="2115"/>
                    <a:pt x="3696" y="2121"/>
                    <a:pt x="3523" y="2121"/>
                  </a:cubicBezTo>
                  <a:cubicBezTo>
                    <a:pt x="2422" y="2121"/>
                    <a:pt x="1336" y="1868"/>
                    <a:pt x="364" y="1342"/>
                  </a:cubicBezTo>
                  <a:cubicBezTo>
                    <a:pt x="183" y="1252"/>
                    <a:pt x="62" y="1192"/>
                    <a:pt x="1" y="113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3" name="Google Shape;511;g191abe3b490_12_4485"/>
            <p:cNvSpPr/>
            <p:nvPr/>
          </p:nvSpPr>
          <p:spPr>
            <a:xfrm>
              <a:off x="5111300" y="2463850"/>
              <a:ext cx="181650" cy="20550"/>
            </a:xfrm>
            <a:custGeom>
              <a:avLst/>
              <a:ahLst/>
              <a:rect l="l" t="t" r="r" b="b"/>
              <a:pathLst>
                <a:path w="7266" h="822" extrusionOk="0">
                  <a:moveTo>
                    <a:pt x="7265" y="1"/>
                  </a:moveTo>
                  <a:lnTo>
                    <a:pt x="6961" y="92"/>
                  </a:lnTo>
                  <a:cubicBezTo>
                    <a:pt x="6779" y="153"/>
                    <a:pt x="6536" y="244"/>
                    <a:pt x="6201" y="365"/>
                  </a:cubicBezTo>
                  <a:cubicBezTo>
                    <a:pt x="5381" y="639"/>
                    <a:pt x="4499" y="791"/>
                    <a:pt x="3618" y="791"/>
                  </a:cubicBezTo>
                  <a:cubicBezTo>
                    <a:pt x="2767" y="760"/>
                    <a:pt x="1885" y="609"/>
                    <a:pt x="1034" y="365"/>
                  </a:cubicBezTo>
                  <a:lnTo>
                    <a:pt x="274" y="122"/>
                  </a:lnTo>
                  <a:lnTo>
                    <a:pt x="1" y="61"/>
                  </a:lnTo>
                  <a:lnTo>
                    <a:pt x="1" y="61"/>
                  </a:lnTo>
                  <a:cubicBezTo>
                    <a:pt x="1" y="61"/>
                    <a:pt x="396" y="183"/>
                    <a:pt x="1034" y="396"/>
                  </a:cubicBezTo>
                  <a:cubicBezTo>
                    <a:pt x="1885" y="639"/>
                    <a:pt x="2767" y="791"/>
                    <a:pt x="3618" y="821"/>
                  </a:cubicBezTo>
                  <a:cubicBezTo>
                    <a:pt x="4530" y="821"/>
                    <a:pt x="5381" y="669"/>
                    <a:pt x="6232" y="396"/>
                  </a:cubicBezTo>
                  <a:cubicBezTo>
                    <a:pt x="6566" y="274"/>
                    <a:pt x="6809" y="183"/>
                    <a:pt x="6992" y="122"/>
                  </a:cubicBezTo>
                  <a:cubicBezTo>
                    <a:pt x="7174" y="31"/>
                    <a:pt x="7265" y="1"/>
                    <a:pt x="7265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4" name="Google Shape;512;g191abe3b490_12_4485"/>
            <p:cNvSpPr/>
            <p:nvPr/>
          </p:nvSpPr>
          <p:spPr>
            <a:xfrm>
              <a:off x="5124975" y="2434950"/>
              <a:ext cx="264475" cy="18300"/>
            </a:xfrm>
            <a:custGeom>
              <a:avLst/>
              <a:ahLst/>
              <a:rect l="l" t="t" r="r" b="b"/>
              <a:pathLst>
                <a:path w="10579" h="732" extrusionOk="0">
                  <a:moveTo>
                    <a:pt x="8031" y="0"/>
                  </a:moveTo>
                  <a:cubicBezTo>
                    <a:pt x="7826" y="0"/>
                    <a:pt x="7622" y="10"/>
                    <a:pt x="7417" y="32"/>
                  </a:cubicBezTo>
                  <a:cubicBezTo>
                    <a:pt x="6779" y="93"/>
                    <a:pt x="6080" y="245"/>
                    <a:pt x="5350" y="397"/>
                  </a:cubicBezTo>
                  <a:cubicBezTo>
                    <a:pt x="4638" y="536"/>
                    <a:pt x="3906" y="605"/>
                    <a:pt x="3177" y="605"/>
                  </a:cubicBezTo>
                  <a:cubicBezTo>
                    <a:pt x="2630" y="605"/>
                    <a:pt x="2085" y="566"/>
                    <a:pt x="1551" y="488"/>
                  </a:cubicBezTo>
                  <a:cubicBezTo>
                    <a:pt x="1065" y="427"/>
                    <a:pt x="669" y="366"/>
                    <a:pt x="396" y="306"/>
                  </a:cubicBezTo>
                  <a:lnTo>
                    <a:pt x="1" y="245"/>
                  </a:lnTo>
                  <a:lnTo>
                    <a:pt x="1" y="245"/>
                  </a:lnTo>
                  <a:cubicBezTo>
                    <a:pt x="1" y="245"/>
                    <a:pt x="578" y="397"/>
                    <a:pt x="1551" y="518"/>
                  </a:cubicBezTo>
                  <a:cubicBezTo>
                    <a:pt x="2085" y="596"/>
                    <a:pt x="2630" y="636"/>
                    <a:pt x="3177" y="636"/>
                  </a:cubicBezTo>
                  <a:cubicBezTo>
                    <a:pt x="3906" y="636"/>
                    <a:pt x="4638" y="566"/>
                    <a:pt x="5350" y="427"/>
                  </a:cubicBezTo>
                  <a:cubicBezTo>
                    <a:pt x="6080" y="275"/>
                    <a:pt x="6779" y="154"/>
                    <a:pt x="7417" y="93"/>
                  </a:cubicBezTo>
                  <a:cubicBezTo>
                    <a:pt x="7657" y="68"/>
                    <a:pt x="7891" y="53"/>
                    <a:pt x="8124" y="53"/>
                  </a:cubicBezTo>
                  <a:cubicBezTo>
                    <a:pt x="8453" y="53"/>
                    <a:pt x="8781" y="82"/>
                    <a:pt x="9119" y="154"/>
                  </a:cubicBezTo>
                  <a:cubicBezTo>
                    <a:pt x="9484" y="214"/>
                    <a:pt x="9849" y="336"/>
                    <a:pt x="10183" y="518"/>
                  </a:cubicBezTo>
                  <a:cubicBezTo>
                    <a:pt x="10305" y="579"/>
                    <a:pt x="10396" y="609"/>
                    <a:pt x="10457" y="670"/>
                  </a:cubicBezTo>
                  <a:lnTo>
                    <a:pt x="10578" y="731"/>
                  </a:lnTo>
                  <a:cubicBezTo>
                    <a:pt x="10457" y="640"/>
                    <a:pt x="10335" y="549"/>
                    <a:pt x="10214" y="488"/>
                  </a:cubicBezTo>
                  <a:cubicBezTo>
                    <a:pt x="9879" y="306"/>
                    <a:pt x="9515" y="184"/>
                    <a:pt x="9150" y="93"/>
                  </a:cubicBezTo>
                  <a:cubicBezTo>
                    <a:pt x="8777" y="34"/>
                    <a:pt x="8404" y="0"/>
                    <a:pt x="8031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5" name="Google Shape;513;g191abe3b490_12_4485"/>
            <p:cNvSpPr/>
            <p:nvPr/>
          </p:nvSpPr>
          <p:spPr>
            <a:xfrm>
              <a:off x="5213125" y="2446050"/>
              <a:ext cx="235600" cy="57350"/>
            </a:xfrm>
            <a:custGeom>
              <a:avLst/>
              <a:ahLst/>
              <a:rect l="l" t="t" r="r" b="b"/>
              <a:pathLst>
                <a:path w="9424" h="2294" extrusionOk="0">
                  <a:moveTo>
                    <a:pt x="5646" y="1"/>
                  </a:moveTo>
                  <a:cubicBezTo>
                    <a:pt x="5385" y="1"/>
                    <a:pt x="5123" y="25"/>
                    <a:pt x="4864" y="74"/>
                  </a:cubicBezTo>
                  <a:cubicBezTo>
                    <a:pt x="4165" y="196"/>
                    <a:pt x="3496" y="469"/>
                    <a:pt x="2919" y="865"/>
                  </a:cubicBezTo>
                  <a:cubicBezTo>
                    <a:pt x="2372" y="1199"/>
                    <a:pt x="1885" y="1533"/>
                    <a:pt x="1460" y="1746"/>
                  </a:cubicBezTo>
                  <a:cubicBezTo>
                    <a:pt x="1004" y="1989"/>
                    <a:pt x="517" y="2141"/>
                    <a:pt x="1" y="2263"/>
                  </a:cubicBezTo>
                  <a:lnTo>
                    <a:pt x="122" y="2263"/>
                  </a:lnTo>
                  <a:cubicBezTo>
                    <a:pt x="213" y="2263"/>
                    <a:pt x="305" y="2232"/>
                    <a:pt x="426" y="2232"/>
                  </a:cubicBezTo>
                  <a:cubicBezTo>
                    <a:pt x="791" y="2141"/>
                    <a:pt x="1186" y="2020"/>
                    <a:pt x="1520" y="1837"/>
                  </a:cubicBezTo>
                  <a:cubicBezTo>
                    <a:pt x="1976" y="1624"/>
                    <a:pt x="2463" y="1321"/>
                    <a:pt x="3010" y="1017"/>
                  </a:cubicBezTo>
                  <a:cubicBezTo>
                    <a:pt x="3587" y="621"/>
                    <a:pt x="4226" y="378"/>
                    <a:pt x="4894" y="257"/>
                  </a:cubicBezTo>
                  <a:cubicBezTo>
                    <a:pt x="5164" y="210"/>
                    <a:pt x="5428" y="186"/>
                    <a:pt x="5690" y="186"/>
                  </a:cubicBezTo>
                  <a:cubicBezTo>
                    <a:pt x="6109" y="186"/>
                    <a:pt x="6520" y="247"/>
                    <a:pt x="6931" y="378"/>
                  </a:cubicBezTo>
                  <a:cubicBezTo>
                    <a:pt x="7448" y="530"/>
                    <a:pt x="7964" y="804"/>
                    <a:pt x="8390" y="1169"/>
                  </a:cubicBezTo>
                  <a:cubicBezTo>
                    <a:pt x="8785" y="1503"/>
                    <a:pt x="9119" y="1868"/>
                    <a:pt x="9423" y="2293"/>
                  </a:cubicBezTo>
                  <a:cubicBezTo>
                    <a:pt x="9393" y="2172"/>
                    <a:pt x="9302" y="2050"/>
                    <a:pt x="9241" y="1928"/>
                  </a:cubicBezTo>
                  <a:cubicBezTo>
                    <a:pt x="9028" y="1624"/>
                    <a:pt x="8755" y="1321"/>
                    <a:pt x="8481" y="1077"/>
                  </a:cubicBezTo>
                  <a:cubicBezTo>
                    <a:pt x="7682" y="375"/>
                    <a:pt x="6670" y="1"/>
                    <a:pt x="564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6" name="Google Shape;514;g191abe3b490_12_4485"/>
            <p:cNvSpPr/>
            <p:nvPr/>
          </p:nvSpPr>
          <p:spPr>
            <a:xfrm>
              <a:off x="5200200" y="2454550"/>
              <a:ext cx="117050" cy="14150"/>
            </a:xfrm>
            <a:custGeom>
              <a:avLst/>
              <a:ahLst/>
              <a:rect l="l" t="t" r="r" b="b"/>
              <a:pathLst>
                <a:path w="4682" h="566" extrusionOk="0">
                  <a:moveTo>
                    <a:pt x="4654" y="0"/>
                  </a:moveTo>
                  <a:cubicBezTo>
                    <a:pt x="4479" y="0"/>
                    <a:pt x="3512" y="286"/>
                    <a:pt x="2341" y="342"/>
                  </a:cubicBezTo>
                  <a:cubicBezTo>
                    <a:pt x="2024" y="364"/>
                    <a:pt x="1723" y="372"/>
                    <a:pt x="1449" y="372"/>
                  </a:cubicBezTo>
                  <a:cubicBezTo>
                    <a:pt x="792" y="372"/>
                    <a:pt x="291" y="327"/>
                    <a:pt x="93" y="327"/>
                  </a:cubicBezTo>
                  <a:cubicBezTo>
                    <a:pt x="33" y="327"/>
                    <a:pt x="1" y="331"/>
                    <a:pt x="1" y="342"/>
                  </a:cubicBezTo>
                  <a:cubicBezTo>
                    <a:pt x="533" y="491"/>
                    <a:pt x="1080" y="566"/>
                    <a:pt x="1631" y="566"/>
                  </a:cubicBezTo>
                  <a:cubicBezTo>
                    <a:pt x="1867" y="566"/>
                    <a:pt x="2104" y="552"/>
                    <a:pt x="2341" y="525"/>
                  </a:cubicBezTo>
                  <a:cubicBezTo>
                    <a:pt x="3162" y="494"/>
                    <a:pt x="3952" y="342"/>
                    <a:pt x="4682" y="8"/>
                  </a:cubicBezTo>
                  <a:cubicBezTo>
                    <a:pt x="4679" y="3"/>
                    <a:pt x="4670" y="0"/>
                    <a:pt x="465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7" name="Google Shape;515;g191abe3b490_12_4485"/>
            <p:cNvSpPr/>
            <p:nvPr/>
          </p:nvSpPr>
          <p:spPr>
            <a:xfrm>
              <a:off x="4320250" y="2254800"/>
              <a:ext cx="949900" cy="295700"/>
            </a:xfrm>
            <a:custGeom>
              <a:avLst/>
              <a:ahLst/>
              <a:rect l="l" t="t" r="r" b="b"/>
              <a:pathLst>
                <a:path w="37996" h="11828" extrusionOk="0">
                  <a:moveTo>
                    <a:pt x="1247" y="186"/>
                  </a:moveTo>
                  <a:cubicBezTo>
                    <a:pt x="821" y="277"/>
                    <a:pt x="396" y="399"/>
                    <a:pt x="1" y="612"/>
                  </a:cubicBezTo>
                  <a:cubicBezTo>
                    <a:pt x="396" y="429"/>
                    <a:pt x="821" y="277"/>
                    <a:pt x="1247" y="186"/>
                  </a:cubicBezTo>
                  <a:close/>
                  <a:moveTo>
                    <a:pt x="31551" y="5171"/>
                  </a:moveTo>
                  <a:lnTo>
                    <a:pt x="31551" y="5171"/>
                  </a:lnTo>
                  <a:cubicBezTo>
                    <a:pt x="33162" y="5262"/>
                    <a:pt x="34773" y="5597"/>
                    <a:pt x="36324" y="6174"/>
                  </a:cubicBezTo>
                  <a:cubicBezTo>
                    <a:pt x="36871" y="6356"/>
                    <a:pt x="37266" y="6539"/>
                    <a:pt x="37570" y="6660"/>
                  </a:cubicBezTo>
                  <a:lnTo>
                    <a:pt x="37995" y="6843"/>
                  </a:lnTo>
                  <a:cubicBezTo>
                    <a:pt x="37995" y="6843"/>
                    <a:pt x="37418" y="6569"/>
                    <a:pt x="36324" y="6144"/>
                  </a:cubicBezTo>
                  <a:cubicBezTo>
                    <a:pt x="34804" y="5566"/>
                    <a:pt x="33193" y="5232"/>
                    <a:pt x="31551" y="5171"/>
                  </a:cubicBezTo>
                  <a:close/>
                  <a:moveTo>
                    <a:pt x="2926" y="0"/>
                  </a:moveTo>
                  <a:cubicBezTo>
                    <a:pt x="2363" y="0"/>
                    <a:pt x="1800" y="61"/>
                    <a:pt x="1247" y="186"/>
                  </a:cubicBezTo>
                  <a:cubicBezTo>
                    <a:pt x="1795" y="72"/>
                    <a:pt x="2353" y="15"/>
                    <a:pt x="2910" y="15"/>
                  </a:cubicBezTo>
                  <a:cubicBezTo>
                    <a:pt x="3991" y="15"/>
                    <a:pt x="5067" y="231"/>
                    <a:pt x="6049" y="673"/>
                  </a:cubicBezTo>
                  <a:cubicBezTo>
                    <a:pt x="7113" y="1098"/>
                    <a:pt x="8056" y="1706"/>
                    <a:pt x="8937" y="2435"/>
                  </a:cubicBezTo>
                  <a:cubicBezTo>
                    <a:pt x="9910" y="3287"/>
                    <a:pt x="10791" y="4229"/>
                    <a:pt x="11551" y="5293"/>
                  </a:cubicBezTo>
                  <a:cubicBezTo>
                    <a:pt x="12372" y="6387"/>
                    <a:pt x="13101" y="7633"/>
                    <a:pt x="14013" y="8819"/>
                  </a:cubicBezTo>
                  <a:cubicBezTo>
                    <a:pt x="14469" y="9426"/>
                    <a:pt x="15016" y="9974"/>
                    <a:pt x="15594" y="10460"/>
                  </a:cubicBezTo>
                  <a:cubicBezTo>
                    <a:pt x="16202" y="10946"/>
                    <a:pt x="16870" y="11341"/>
                    <a:pt x="17630" y="11585"/>
                  </a:cubicBezTo>
                  <a:cubicBezTo>
                    <a:pt x="18074" y="11751"/>
                    <a:pt x="18552" y="11827"/>
                    <a:pt x="19030" y="11827"/>
                  </a:cubicBezTo>
                  <a:cubicBezTo>
                    <a:pt x="19337" y="11827"/>
                    <a:pt x="19643" y="11796"/>
                    <a:pt x="19940" y="11737"/>
                  </a:cubicBezTo>
                  <a:cubicBezTo>
                    <a:pt x="20670" y="11524"/>
                    <a:pt x="21369" y="11189"/>
                    <a:pt x="21946" y="10673"/>
                  </a:cubicBezTo>
                  <a:cubicBezTo>
                    <a:pt x="23071" y="9700"/>
                    <a:pt x="23892" y="8515"/>
                    <a:pt x="24895" y="7542"/>
                  </a:cubicBezTo>
                  <a:cubicBezTo>
                    <a:pt x="25837" y="6660"/>
                    <a:pt x="26962" y="5992"/>
                    <a:pt x="28208" y="5627"/>
                  </a:cubicBezTo>
                  <a:cubicBezTo>
                    <a:pt x="29211" y="5321"/>
                    <a:pt x="30240" y="5167"/>
                    <a:pt x="31270" y="5167"/>
                  </a:cubicBezTo>
                  <a:cubicBezTo>
                    <a:pt x="31364" y="5167"/>
                    <a:pt x="31458" y="5169"/>
                    <a:pt x="31551" y="5171"/>
                  </a:cubicBezTo>
                  <a:cubicBezTo>
                    <a:pt x="31389" y="5162"/>
                    <a:pt x="31226" y="5158"/>
                    <a:pt x="31063" y="5158"/>
                  </a:cubicBezTo>
                  <a:cubicBezTo>
                    <a:pt x="30095" y="5158"/>
                    <a:pt x="29118" y="5311"/>
                    <a:pt x="28208" y="5597"/>
                  </a:cubicBezTo>
                  <a:cubicBezTo>
                    <a:pt x="26962" y="5961"/>
                    <a:pt x="25807" y="6630"/>
                    <a:pt x="24864" y="7542"/>
                  </a:cubicBezTo>
                  <a:cubicBezTo>
                    <a:pt x="23861" y="8484"/>
                    <a:pt x="23041" y="9670"/>
                    <a:pt x="21916" y="10642"/>
                  </a:cubicBezTo>
                  <a:cubicBezTo>
                    <a:pt x="21339" y="11159"/>
                    <a:pt x="20670" y="11524"/>
                    <a:pt x="19940" y="11706"/>
                  </a:cubicBezTo>
                  <a:cubicBezTo>
                    <a:pt x="19643" y="11766"/>
                    <a:pt x="19341" y="11797"/>
                    <a:pt x="19040" y="11797"/>
                  </a:cubicBezTo>
                  <a:cubicBezTo>
                    <a:pt x="18571" y="11797"/>
                    <a:pt x="18105" y="11721"/>
                    <a:pt x="17661" y="11554"/>
                  </a:cubicBezTo>
                  <a:cubicBezTo>
                    <a:pt x="16901" y="11311"/>
                    <a:pt x="16232" y="10916"/>
                    <a:pt x="15624" y="10429"/>
                  </a:cubicBezTo>
                  <a:cubicBezTo>
                    <a:pt x="15047" y="9943"/>
                    <a:pt x="14530" y="9396"/>
                    <a:pt x="14074" y="8788"/>
                  </a:cubicBezTo>
                  <a:cubicBezTo>
                    <a:pt x="13162" y="7603"/>
                    <a:pt x="12433" y="6356"/>
                    <a:pt x="11612" y="5262"/>
                  </a:cubicBezTo>
                  <a:cubicBezTo>
                    <a:pt x="10822" y="4229"/>
                    <a:pt x="9940" y="3256"/>
                    <a:pt x="8937" y="2405"/>
                  </a:cubicBezTo>
                  <a:cubicBezTo>
                    <a:pt x="8086" y="1676"/>
                    <a:pt x="7113" y="1068"/>
                    <a:pt x="6080" y="642"/>
                  </a:cubicBezTo>
                  <a:cubicBezTo>
                    <a:pt x="5082" y="223"/>
                    <a:pt x="4005" y="0"/>
                    <a:pt x="2926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8" name="Google Shape;516;g191abe3b490_12_4485"/>
            <p:cNvSpPr/>
            <p:nvPr/>
          </p:nvSpPr>
          <p:spPr>
            <a:xfrm>
              <a:off x="4508700" y="2228275"/>
              <a:ext cx="294875" cy="225725"/>
            </a:xfrm>
            <a:custGeom>
              <a:avLst/>
              <a:ahLst/>
              <a:rect l="l" t="t" r="r" b="b"/>
              <a:pathLst>
                <a:path w="11795" h="9029" extrusionOk="0">
                  <a:moveTo>
                    <a:pt x="1" y="1"/>
                  </a:moveTo>
                  <a:lnTo>
                    <a:pt x="548" y="183"/>
                  </a:lnTo>
                  <a:cubicBezTo>
                    <a:pt x="1065" y="396"/>
                    <a:pt x="1551" y="639"/>
                    <a:pt x="2037" y="882"/>
                  </a:cubicBezTo>
                  <a:cubicBezTo>
                    <a:pt x="3618" y="1734"/>
                    <a:pt x="5047" y="2858"/>
                    <a:pt x="6232" y="4226"/>
                  </a:cubicBezTo>
                  <a:cubicBezTo>
                    <a:pt x="6870" y="4986"/>
                    <a:pt x="7448" y="5776"/>
                    <a:pt x="7995" y="6627"/>
                  </a:cubicBezTo>
                  <a:cubicBezTo>
                    <a:pt x="8451" y="7296"/>
                    <a:pt x="9028" y="7873"/>
                    <a:pt x="9697" y="8360"/>
                  </a:cubicBezTo>
                  <a:cubicBezTo>
                    <a:pt x="10153" y="8694"/>
                    <a:pt x="10670" y="8907"/>
                    <a:pt x="11217" y="8998"/>
                  </a:cubicBezTo>
                  <a:cubicBezTo>
                    <a:pt x="11308" y="9013"/>
                    <a:pt x="11407" y="9021"/>
                    <a:pt x="11506" y="9021"/>
                  </a:cubicBezTo>
                  <a:cubicBezTo>
                    <a:pt x="11534" y="9021"/>
                    <a:pt x="11562" y="9020"/>
                    <a:pt x="11590" y="9019"/>
                  </a:cubicBezTo>
                  <a:lnTo>
                    <a:pt x="11590" y="9019"/>
                  </a:lnTo>
                  <a:cubicBezTo>
                    <a:pt x="11607" y="9022"/>
                    <a:pt x="11625" y="9025"/>
                    <a:pt x="11642" y="9028"/>
                  </a:cubicBezTo>
                  <a:lnTo>
                    <a:pt x="11794" y="8998"/>
                  </a:lnTo>
                  <a:lnTo>
                    <a:pt x="11794" y="8998"/>
                  </a:lnTo>
                  <a:cubicBezTo>
                    <a:pt x="11729" y="9009"/>
                    <a:pt x="11660" y="9016"/>
                    <a:pt x="11590" y="9019"/>
                  </a:cubicBezTo>
                  <a:lnTo>
                    <a:pt x="11590" y="9019"/>
                  </a:lnTo>
                  <a:cubicBezTo>
                    <a:pt x="11462" y="8998"/>
                    <a:pt x="11351" y="8995"/>
                    <a:pt x="11217" y="8968"/>
                  </a:cubicBezTo>
                  <a:cubicBezTo>
                    <a:pt x="10670" y="8876"/>
                    <a:pt x="10153" y="8664"/>
                    <a:pt x="9727" y="8360"/>
                  </a:cubicBezTo>
                  <a:cubicBezTo>
                    <a:pt x="9059" y="7873"/>
                    <a:pt x="8512" y="7266"/>
                    <a:pt x="8056" y="6597"/>
                  </a:cubicBezTo>
                  <a:cubicBezTo>
                    <a:pt x="7509" y="5776"/>
                    <a:pt x="6901" y="4955"/>
                    <a:pt x="6293" y="4196"/>
                  </a:cubicBezTo>
                  <a:cubicBezTo>
                    <a:pt x="5107" y="2828"/>
                    <a:pt x="3679" y="1703"/>
                    <a:pt x="2068" y="852"/>
                  </a:cubicBezTo>
                  <a:cubicBezTo>
                    <a:pt x="1581" y="609"/>
                    <a:pt x="1095" y="366"/>
                    <a:pt x="578" y="183"/>
                  </a:cubicBezTo>
                  <a:cubicBezTo>
                    <a:pt x="214" y="6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39" name="Google Shape;517;g191abe3b490_12_4485"/>
            <p:cNvSpPr/>
            <p:nvPr/>
          </p:nvSpPr>
          <p:spPr>
            <a:xfrm>
              <a:off x="4934250" y="2330750"/>
              <a:ext cx="307025" cy="51825"/>
            </a:xfrm>
            <a:custGeom>
              <a:avLst/>
              <a:ahLst/>
              <a:rect l="l" t="t" r="r" b="b"/>
              <a:pathLst>
                <a:path w="12281" h="2073" extrusionOk="0">
                  <a:moveTo>
                    <a:pt x="12239" y="1677"/>
                  </a:moveTo>
                  <a:cubicBezTo>
                    <a:pt x="12266" y="1696"/>
                    <a:pt x="12280" y="1708"/>
                    <a:pt x="12280" y="1708"/>
                  </a:cubicBezTo>
                  <a:cubicBezTo>
                    <a:pt x="12270" y="1697"/>
                    <a:pt x="12255" y="1686"/>
                    <a:pt x="12239" y="1677"/>
                  </a:cubicBezTo>
                  <a:close/>
                  <a:moveTo>
                    <a:pt x="6402" y="0"/>
                  </a:moveTo>
                  <a:cubicBezTo>
                    <a:pt x="4769" y="0"/>
                    <a:pt x="3140" y="367"/>
                    <a:pt x="1642" y="1100"/>
                  </a:cubicBezTo>
                  <a:cubicBezTo>
                    <a:pt x="1216" y="1312"/>
                    <a:pt x="821" y="1525"/>
                    <a:pt x="426" y="1799"/>
                  </a:cubicBezTo>
                  <a:cubicBezTo>
                    <a:pt x="821" y="1556"/>
                    <a:pt x="1216" y="1312"/>
                    <a:pt x="1642" y="1130"/>
                  </a:cubicBezTo>
                  <a:cubicBezTo>
                    <a:pt x="3140" y="397"/>
                    <a:pt x="4769" y="31"/>
                    <a:pt x="6402" y="31"/>
                  </a:cubicBezTo>
                  <a:cubicBezTo>
                    <a:pt x="7818" y="31"/>
                    <a:pt x="9237" y="306"/>
                    <a:pt x="10578" y="856"/>
                  </a:cubicBezTo>
                  <a:cubicBezTo>
                    <a:pt x="11004" y="1008"/>
                    <a:pt x="11429" y="1221"/>
                    <a:pt x="11824" y="1464"/>
                  </a:cubicBezTo>
                  <a:cubicBezTo>
                    <a:pt x="11976" y="1525"/>
                    <a:pt x="12098" y="1586"/>
                    <a:pt x="12159" y="1647"/>
                  </a:cubicBezTo>
                  <a:cubicBezTo>
                    <a:pt x="12178" y="1647"/>
                    <a:pt x="12211" y="1659"/>
                    <a:pt x="12239" y="1677"/>
                  </a:cubicBezTo>
                  <a:lnTo>
                    <a:pt x="12239" y="1677"/>
                  </a:lnTo>
                  <a:cubicBezTo>
                    <a:pt x="12177" y="1631"/>
                    <a:pt x="12046" y="1540"/>
                    <a:pt x="11855" y="1434"/>
                  </a:cubicBezTo>
                  <a:cubicBezTo>
                    <a:pt x="11429" y="1191"/>
                    <a:pt x="11004" y="1008"/>
                    <a:pt x="10578" y="826"/>
                  </a:cubicBezTo>
                  <a:cubicBezTo>
                    <a:pt x="9237" y="276"/>
                    <a:pt x="7818" y="0"/>
                    <a:pt x="6402" y="0"/>
                  </a:cubicBezTo>
                  <a:close/>
                  <a:moveTo>
                    <a:pt x="426" y="1799"/>
                  </a:moveTo>
                  <a:cubicBezTo>
                    <a:pt x="152" y="1981"/>
                    <a:pt x="0" y="2072"/>
                    <a:pt x="0" y="2072"/>
                  </a:cubicBezTo>
                  <a:lnTo>
                    <a:pt x="122" y="2011"/>
                  </a:lnTo>
                  <a:cubicBezTo>
                    <a:pt x="183" y="1981"/>
                    <a:pt x="304" y="1890"/>
                    <a:pt x="426" y="1799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0" name="Google Shape;518;g191abe3b490_12_4485"/>
            <p:cNvSpPr/>
            <p:nvPr/>
          </p:nvSpPr>
          <p:spPr>
            <a:xfrm>
              <a:off x="5004150" y="2327075"/>
              <a:ext cx="44100" cy="88925"/>
            </a:xfrm>
            <a:custGeom>
              <a:avLst/>
              <a:ahLst/>
              <a:rect l="l" t="t" r="r" b="b"/>
              <a:pathLst>
                <a:path w="1764" h="3557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31" y="61"/>
                    <a:pt x="92" y="122"/>
                  </a:cubicBezTo>
                  <a:cubicBezTo>
                    <a:pt x="153" y="213"/>
                    <a:pt x="244" y="335"/>
                    <a:pt x="335" y="487"/>
                  </a:cubicBezTo>
                  <a:cubicBezTo>
                    <a:pt x="609" y="851"/>
                    <a:pt x="852" y="1277"/>
                    <a:pt x="1065" y="1672"/>
                  </a:cubicBezTo>
                  <a:cubicBezTo>
                    <a:pt x="1247" y="2098"/>
                    <a:pt x="1429" y="2554"/>
                    <a:pt x="1581" y="2979"/>
                  </a:cubicBezTo>
                  <a:cubicBezTo>
                    <a:pt x="1642" y="3162"/>
                    <a:pt x="1673" y="3283"/>
                    <a:pt x="1703" y="3405"/>
                  </a:cubicBezTo>
                  <a:cubicBezTo>
                    <a:pt x="1733" y="3496"/>
                    <a:pt x="1764" y="3557"/>
                    <a:pt x="1764" y="3557"/>
                  </a:cubicBezTo>
                  <a:cubicBezTo>
                    <a:pt x="1733" y="3344"/>
                    <a:pt x="1673" y="3162"/>
                    <a:pt x="1612" y="2979"/>
                  </a:cubicBezTo>
                  <a:cubicBezTo>
                    <a:pt x="1338" y="2067"/>
                    <a:pt x="913" y="1216"/>
                    <a:pt x="366" y="456"/>
                  </a:cubicBezTo>
                  <a:cubicBezTo>
                    <a:pt x="244" y="304"/>
                    <a:pt x="122" y="152"/>
                    <a:pt x="1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1" name="Google Shape;519;g191abe3b490_12_4485"/>
            <p:cNvSpPr/>
            <p:nvPr/>
          </p:nvSpPr>
          <p:spPr>
            <a:xfrm>
              <a:off x="5135625" y="2327075"/>
              <a:ext cx="14450" cy="93500"/>
            </a:xfrm>
            <a:custGeom>
              <a:avLst/>
              <a:ahLst/>
              <a:rect l="l" t="t" r="r" b="b"/>
              <a:pathLst>
                <a:path w="578" h="3740" extrusionOk="0">
                  <a:moveTo>
                    <a:pt x="547" y="0"/>
                  </a:moveTo>
                  <a:lnTo>
                    <a:pt x="547" y="183"/>
                  </a:lnTo>
                  <a:lnTo>
                    <a:pt x="547" y="578"/>
                  </a:lnTo>
                  <a:cubicBezTo>
                    <a:pt x="517" y="1003"/>
                    <a:pt x="487" y="1459"/>
                    <a:pt x="426" y="1915"/>
                  </a:cubicBezTo>
                  <a:cubicBezTo>
                    <a:pt x="365" y="2341"/>
                    <a:pt x="274" y="2766"/>
                    <a:pt x="152" y="3222"/>
                  </a:cubicBezTo>
                  <a:cubicBezTo>
                    <a:pt x="122" y="3314"/>
                    <a:pt x="91" y="3496"/>
                    <a:pt x="31" y="3587"/>
                  </a:cubicBezTo>
                  <a:cubicBezTo>
                    <a:pt x="0" y="3678"/>
                    <a:pt x="0" y="3739"/>
                    <a:pt x="0" y="3739"/>
                  </a:cubicBezTo>
                  <a:cubicBezTo>
                    <a:pt x="0" y="3739"/>
                    <a:pt x="91" y="3526"/>
                    <a:pt x="183" y="3222"/>
                  </a:cubicBezTo>
                  <a:cubicBezTo>
                    <a:pt x="304" y="2766"/>
                    <a:pt x="395" y="2341"/>
                    <a:pt x="487" y="1915"/>
                  </a:cubicBezTo>
                  <a:cubicBezTo>
                    <a:pt x="547" y="1459"/>
                    <a:pt x="578" y="1003"/>
                    <a:pt x="578" y="578"/>
                  </a:cubicBezTo>
                  <a:cubicBezTo>
                    <a:pt x="547" y="213"/>
                    <a:pt x="547" y="0"/>
                    <a:pt x="54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2" name="Google Shape;520;g191abe3b490_12_4485"/>
            <p:cNvSpPr/>
            <p:nvPr/>
          </p:nvSpPr>
          <p:spPr>
            <a:xfrm>
              <a:off x="4867375" y="2425850"/>
              <a:ext cx="63100" cy="62350"/>
            </a:xfrm>
            <a:custGeom>
              <a:avLst/>
              <a:ahLst/>
              <a:rect l="l" t="t" r="r" b="b"/>
              <a:pathLst>
                <a:path w="2524" h="2494" extrusionOk="0">
                  <a:moveTo>
                    <a:pt x="1" y="1"/>
                  </a:moveTo>
                  <a:lnTo>
                    <a:pt x="1" y="1"/>
                  </a:lnTo>
                  <a:cubicBezTo>
                    <a:pt x="92" y="153"/>
                    <a:pt x="183" y="305"/>
                    <a:pt x="274" y="457"/>
                  </a:cubicBezTo>
                  <a:cubicBezTo>
                    <a:pt x="517" y="791"/>
                    <a:pt x="821" y="1095"/>
                    <a:pt x="1125" y="1399"/>
                  </a:cubicBezTo>
                  <a:cubicBezTo>
                    <a:pt x="821" y="1095"/>
                    <a:pt x="548" y="761"/>
                    <a:pt x="305" y="426"/>
                  </a:cubicBezTo>
                  <a:cubicBezTo>
                    <a:pt x="213" y="305"/>
                    <a:pt x="122" y="183"/>
                    <a:pt x="92" y="122"/>
                  </a:cubicBezTo>
                  <a:cubicBezTo>
                    <a:pt x="31" y="31"/>
                    <a:pt x="1" y="1"/>
                    <a:pt x="1" y="1"/>
                  </a:cubicBezTo>
                  <a:close/>
                  <a:moveTo>
                    <a:pt x="1125" y="1399"/>
                  </a:moveTo>
                  <a:lnTo>
                    <a:pt x="1125" y="1399"/>
                  </a:lnTo>
                  <a:cubicBezTo>
                    <a:pt x="1399" y="1703"/>
                    <a:pt x="1733" y="1977"/>
                    <a:pt x="2068" y="2220"/>
                  </a:cubicBezTo>
                  <a:cubicBezTo>
                    <a:pt x="1733" y="1977"/>
                    <a:pt x="1429" y="1673"/>
                    <a:pt x="1125" y="1399"/>
                  </a:cubicBezTo>
                  <a:close/>
                  <a:moveTo>
                    <a:pt x="2068" y="2220"/>
                  </a:moveTo>
                  <a:lnTo>
                    <a:pt x="2176" y="2289"/>
                  </a:lnTo>
                  <a:lnTo>
                    <a:pt x="2176" y="2289"/>
                  </a:lnTo>
                  <a:cubicBezTo>
                    <a:pt x="2140" y="2265"/>
                    <a:pt x="2104" y="2241"/>
                    <a:pt x="2068" y="2220"/>
                  </a:cubicBezTo>
                  <a:close/>
                  <a:moveTo>
                    <a:pt x="2176" y="2289"/>
                  </a:moveTo>
                  <a:lnTo>
                    <a:pt x="2176" y="2289"/>
                  </a:lnTo>
                  <a:cubicBezTo>
                    <a:pt x="2292" y="2366"/>
                    <a:pt x="2408" y="2447"/>
                    <a:pt x="2523" y="2493"/>
                  </a:cubicBezTo>
                  <a:lnTo>
                    <a:pt x="2402" y="2432"/>
                  </a:lnTo>
                  <a:lnTo>
                    <a:pt x="2176" y="228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3" name="Google Shape;521;g191abe3b490_12_4485"/>
            <p:cNvSpPr/>
            <p:nvPr/>
          </p:nvSpPr>
          <p:spPr>
            <a:xfrm>
              <a:off x="4779225" y="2391675"/>
              <a:ext cx="8400" cy="67650"/>
            </a:xfrm>
            <a:custGeom>
              <a:avLst/>
              <a:ahLst/>
              <a:rect l="l" t="t" r="r" b="b"/>
              <a:pathLst>
                <a:path w="336" h="2706" extrusionOk="0">
                  <a:moveTo>
                    <a:pt x="335" y="0"/>
                  </a:moveTo>
                  <a:cubicBezTo>
                    <a:pt x="274" y="122"/>
                    <a:pt x="244" y="243"/>
                    <a:pt x="213" y="365"/>
                  </a:cubicBezTo>
                  <a:cubicBezTo>
                    <a:pt x="274" y="243"/>
                    <a:pt x="274" y="152"/>
                    <a:pt x="305" y="91"/>
                  </a:cubicBezTo>
                  <a:cubicBezTo>
                    <a:pt x="335" y="61"/>
                    <a:pt x="335" y="30"/>
                    <a:pt x="335" y="0"/>
                  </a:cubicBezTo>
                  <a:close/>
                  <a:moveTo>
                    <a:pt x="213" y="365"/>
                  </a:moveTo>
                  <a:lnTo>
                    <a:pt x="213" y="365"/>
                  </a:lnTo>
                  <a:cubicBezTo>
                    <a:pt x="92" y="669"/>
                    <a:pt x="62" y="1003"/>
                    <a:pt x="31" y="1337"/>
                  </a:cubicBezTo>
                  <a:cubicBezTo>
                    <a:pt x="1" y="1672"/>
                    <a:pt x="31" y="1976"/>
                    <a:pt x="92" y="2310"/>
                  </a:cubicBezTo>
                  <a:cubicBezTo>
                    <a:pt x="62" y="1976"/>
                    <a:pt x="62" y="1672"/>
                    <a:pt x="62" y="1337"/>
                  </a:cubicBezTo>
                  <a:cubicBezTo>
                    <a:pt x="92" y="1003"/>
                    <a:pt x="153" y="699"/>
                    <a:pt x="213" y="365"/>
                  </a:cubicBezTo>
                  <a:close/>
                  <a:moveTo>
                    <a:pt x="92" y="2310"/>
                  </a:moveTo>
                  <a:cubicBezTo>
                    <a:pt x="92" y="2432"/>
                    <a:pt x="122" y="2553"/>
                    <a:pt x="183" y="2705"/>
                  </a:cubicBezTo>
                  <a:cubicBezTo>
                    <a:pt x="183" y="2644"/>
                    <a:pt x="153" y="2614"/>
                    <a:pt x="153" y="2614"/>
                  </a:cubicBezTo>
                  <a:cubicBezTo>
                    <a:pt x="153" y="2523"/>
                    <a:pt x="122" y="2432"/>
                    <a:pt x="92" y="231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4" name="Google Shape;522;g191abe3b490_12_4485"/>
            <p:cNvSpPr/>
            <p:nvPr/>
          </p:nvSpPr>
          <p:spPr>
            <a:xfrm>
              <a:off x="4760225" y="2486650"/>
              <a:ext cx="22825" cy="95775"/>
            </a:xfrm>
            <a:custGeom>
              <a:avLst/>
              <a:ahLst/>
              <a:rect l="l" t="t" r="r" b="b"/>
              <a:pathLst>
                <a:path w="913" h="3831" extrusionOk="0">
                  <a:moveTo>
                    <a:pt x="1" y="0"/>
                  </a:moveTo>
                  <a:lnTo>
                    <a:pt x="1" y="31"/>
                  </a:lnTo>
                  <a:cubicBezTo>
                    <a:pt x="1" y="31"/>
                    <a:pt x="1" y="32"/>
                    <a:pt x="1" y="32"/>
                  </a:cubicBezTo>
                  <a:lnTo>
                    <a:pt x="1" y="32"/>
                  </a:lnTo>
                  <a:cubicBezTo>
                    <a:pt x="1" y="22"/>
                    <a:pt x="1" y="11"/>
                    <a:pt x="1" y="0"/>
                  </a:cubicBezTo>
                  <a:close/>
                  <a:moveTo>
                    <a:pt x="1" y="32"/>
                  </a:moveTo>
                  <a:cubicBezTo>
                    <a:pt x="3" y="569"/>
                    <a:pt x="63" y="1105"/>
                    <a:pt x="153" y="1642"/>
                  </a:cubicBezTo>
                  <a:cubicBezTo>
                    <a:pt x="274" y="2159"/>
                    <a:pt x="426" y="2706"/>
                    <a:pt x="639" y="3192"/>
                  </a:cubicBezTo>
                  <a:cubicBezTo>
                    <a:pt x="700" y="3405"/>
                    <a:pt x="822" y="3618"/>
                    <a:pt x="913" y="3830"/>
                  </a:cubicBezTo>
                  <a:lnTo>
                    <a:pt x="852" y="3678"/>
                  </a:lnTo>
                  <a:cubicBezTo>
                    <a:pt x="791" y="3557"/>
                    <a:pt x="730" y="3405"/>
                    <a:pt x="670" y="3222"/>
                  </a:cubicBezTo>
                  <a:cubicBezTo>
                    <a:pt x="457" y="2706"/>
                    <a:pt x="305" y="2189"/>
                    <a:pt x="214" y="1642"/>
                  </a:cubicBezTo>
                  <a:cubicBezTo>
                    <a:pt x="92" y="1095"/>
                    <a:pt x="31" y="579"/>
                    <a:pt x="1" y="32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5" name="Google Shape;523;g191abe3b490_12_4485"/>
            <p:cNvSpPr/>
            <p:nvPr/>
          </p:nvSpPr>
          <p:spPr>
            <a:xfrm>
              <a:off x="4893975" y="2384075"/>
              <a:ext cx="6100" cy="14450"/>
            </a:xfrm>
            <a:custGeom>
              <a:avLst/>
              <a:ahLst/>
              <a:rect l="l" t="t" r="r" b="b"/>
              <a:pathLst>
                <a:path w="244" h="578" extrusionOk="0">
                  <a:moveTo>
                    <a:pt x="31" y="0"/>
                  </a:moveTo>
                  <a:lnTo>
                    <a:pt x="31" y="0"/>
                  </a:lnTo>
                  <a:cubicBezTo>
                    <a:pt x="0" y="122"/>
                    <a:pt x="31" y="213"/>
                    <a:pt x="61" y="304"/>
                  </a:cubicBezTo>
                  <a:cubicBezTo>
                    <a:pt x="92" y="426"/>
                    <a:pt x="152" y="517"/>
                    <a:pt x="244" y="578"/>
                  </a:cubicBezTo>
                  <a:cubicBezTo>
                    <a:pt x="244" y="578"/>
                    <a:pt x="152" y="456"/>
                    <a:pt x="92" y="304"/>
                  </a:cubicBezTo>
                  <a:cubicBezTo>
                    <a:pt x="61" y="213"/>
                    <a:pt x="31" y="91"/>
                    <a:pt x="31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6" name="Google Shape;524;g191abe3b490_12_4485"/>
            <p:cNvSpPr/>
            <p:nvPr/>
          </p:nvSpPr>
          <p:spPr>
            <a:xfrm>
              <a:off x="4577850" y="2348350"/>
              <a:ext cx="131500" cy="118575"/>
            </a:xfrm>
            <a:custGeom>
              <a:avLst/>
              <a:ahLst/>
              <a:rect l="l" t="t" r="r" b="b"/>
              <a:pathLst>
                <a:path w="5260" h="4743" extrusionOk="0">
                  <a:moveTo>
                    <a:pt x="5259" y="0"/>
                  </a:moveTo>
                  <a:lnTo>
                    <a:pt x="5259" y="0"/>
                  </a:lnTo>
                  <a:cubicBezTo>
                    <a:pt x="4925" y="152"/>
                    <a:pt x="4621" y="335"/>
                    <a:pt x="4317" y="517"/>
                  </a:cubicBezTo>
                  <a:cubicBezTo>
                    <a:pt x="2858" y="1368"/>
                    <a:pt x="1581" y="2523"/>
                    <a:pt x="578" y="3891"/>
                  </a:cubicBezTo>
                  <a:cubicBezTo>
                    <a:pt x="366" y="4165"/>
                    <a:pt x="183" y="4438"/>
                    <a:pt x="1" y="4742"/>
                  </a:cubicBezTo>
                  <a:cubicBezTo>
                    <a:pt x="1" y="4742"/>
                    <a:pt x="62" y="4681"/>
                    <a:pt x="153" y="4529"/>
                  </a:cubicBezTo>
                  <a:cubicBezTo>
                    <a:pt x="244" y="4377"/>
                    <a:pt x="396" y="4165"/>
                    <a:pt x="609" y="3891"/>
                  </a:cubicBezTo>
                  <a:cubicBezTo>
                    <a:pt x="1612" y="2554"/>
                    <a:pt x="2888" y="1399"/>
                    <a:pt x="4347" y="517"/>
                  </a:cubicBezTo>
                  <a:cubicBezTo>
                    <a:pt x="4621" y="365"/>
                    <a:pt x="4864" y="244"/>
                    <a:pt x="5016" y="152"/>
                  </a:cubicBezTo>
                  <a:lnTo>
                    <a:pt x="5259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7" name="Google Shape;525;g191abe3b490_12_4485"/>
            <p:cNvSpPr/>
            <p:nvPr/>
          </p:nvSpPr>
          <p:spPr>
            <a:xfrm>
              <a:off x="4455525" y="2253375"/>
              <a:ext cx="139825" cy="64600"/>
            </a:xfrm>
            <a:custGeom>
              <a:avLst/>
              <a:ahLst/>
              <a:rect l="l" t="t" r="r" b="b"/>
              <a:pathLst>
                <a:path w="5593" h="2584" extrusionOk="0">
                  <a:moveTo>
                    <a:pt x="5593" y="0"/>
                  </a:moveTo>
                  <a:cubicBezTo>
                    <a:pt x="5593" y="0"/>
                    <a:pt x="5228" y="61"/>
                    <a:pt x="4681" y="182"/>
                  </a:cubicBezTo>
                  <a:cubicBezTo>
                    <a:pt x="3982" y="365"/>
                    <a:pt x="3283" y="638"/>
                    <a:pt x="2614" y="942"/>
                  </a:cubicBezTo>
                  <a:cubicBezTo>
                    <a:pt x="1945" y="1246"/>
                    <a:pt x="1338" y="1611"/>
                    <a:pt x="730" y="2037"/>
                  </a:cubicBezTo>
                  <a:cubicBezTo>
                    <a:pt x="499" y="2190"/>
                    <a:pt x="315" y="2328"/>
                    <a:pt x="190" y="2427"/>
                  </a:cubicBezTo>
                  <a:lnTo>
                    <a:pt x="190" y="2427"/>
                  </a:lnTo>
                  <a:cubicBezTo>
                    <a:pt x="340" y="2337"/>
                    <a:pt x="520" y="2216"/>
                    <a:pt x="730" y="2067"/>
                  </a:cubicBezTo>
                  <a:cubicBezTo>
                    <a:pt x="1338" y="1641"/>
                    <a:pt x="1976" y="1277"/>
                    <a:pt x="2645" y="973"/>
                  </a:cubicBezTo>
                  <a:cubicBezTo>
                    <a:pt x="3313" y="669"/>
                    <a:pt x="3982" y="426"/>
                    <a:pt x="4711" y="213"/>
                  </a:cubicBezTo>
                  <a:cubicBezTo>
                    <a:pt x="4955" y="152"/>
                    <a:pt x="5198" y="91"/>
                    <a:pt x="5350" y="61"/>
                  </a:cubicBezTo>
                  <a:lnTo>
                    <a:pt x="5593" y="0"/>
                  </a:lnTo>
                  <a:close/>
                  <a:moveTo>
                    <a:pt x="190" y="2427"/>
                  </a:moveTo>
                  <a:cubicBezTo>
                    <a:pt x="187" y="2429"/>
                    <a:pt x="185" y="2430"/>
                    <a:pt x="183" y="2432"/>
                  </a:cubicBezTo>
                  <a:lnTo>
                    <a:pt x="144" y="2464"/>
                  </a:lnTo>
                  <a:lnTo>
                    <a:pt x="144" y="2464"/>
                  </a:lnTo>
                  <a:cubicBezTo>
                    <a:pt x="158" y="2452"/>
                    <a:pt x="174" y="2440"/>
                    <a:pt x="190" y="2427"/>
                  </a:cubicBezTo>
                  <a:close/>
                  <a:moveTo>
                    <a:pt x="144" y="2464"/>
                  </a:moveTo>
                  <a:lnTo>
                    <a:pt x="144" y="2464"/>
                  </a:lnTo>
                  <a:cubicBezTo>
                    <a:pt x="50" y="2539"/>
                    <a:pt x="0" y="2584"/>
                    <a:pt x="0" y="2584"/>
                  </a:cubicBezTo>
                  <a:lnTo>
                    <a:pt x="144" y="2464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8" name="Google Shape;526;g191abe3b490_12_4485"/>
            <p:cNvSpPr/>
            <p:nvPr/>
          </p:nvSpPr>
          <p:spPr>
            <a:xfrm>
              <a:off x="5367400" y="2420550"/>
              <a:ext cx="3050" cy="11400"/>
            </a:xfrm>
            <a:custGeom>
              <a:avLst/>
              <a:ahLst/>
              <a:rect l="l" t="t" r="r" b="b"/>
              <a:pathLst>
                <a:path w="122" h="456" extrusionOk="0">
                  <a:moveTo>
                    <a:pt x="122" y="0"/>
                  </a:moveTo>
                  <a:lnTo>
                    <a:pt x="122" y="0"/>
                  </a:lnTo>
                  <a:cubicBezTo>
                    <a:pt x="61" y="91"/>
                    <a:pt x="61" y="152"/>
                    <a:pt x="30" y="243"/>
                  </a:cubicBezTo>
                  <a:cubicBezTo>
                    <a:pt x="0" y="304"/>
                    <a:pt x="0" y="395"/>
                    <a:pt x="0" y="456"/>
                  </a:cubicBezTo>
                  <a:cubicBezTo>
                    <a:pt x="30" y="395"/>
                    <a:pt x="61" y="334"/>
                    <a:pt x="61" y="243"/>
                  </a:cubicBezTo>
                  <a:cubicBezTo>
                    <a:pt x="91" y="152"/>
                    <a:pt x="122" y="91"/>
                    <a:pt x="122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49" name="Google Shape;527;g191abe3b490_12_4485"/>
            <p:cNvSpPr/>
            <p:nvPr/>
          </p:nvSpPr>
          <p:spPr>
            <a:xfrm>
              <a:off x="5741250" y="2416750"/>
              <a:ext cx="252325" cy="222050"/>
            </a:xfrm>
            <a:custGeom>
              <a:avLst/>
              <a:ahLst/>
              <a:rect l="l" t="t" r="r" b="b"/>
              <a:pathLst>
                <a:path w="10093" h="8882" extrusionOk="0">
                  <a:moveTo>
                    <a:pt x="2402" y="0"/>
                  </a:moveTo>
                  <a:lnTo>
                    <a:pt x="61" y="2979"/>
                  </a:lnTo>
                  <a:cubicBezTo>
                    <a:pt x="1" y="3830"/>
                    <a:pt x="5016" y="5927"/>
                    <a:pt x="5016" y="5927"/>
                  </a:cubicBezTo>
                  <a:cubicBezTo>
                    <a:pt x="5016" y="5927"/>
                    <a:pt x="6201" y="8025"/>
                    <a:pt x="6566" y="8541"/>
                  </a:cubicBezTo>
                  <a:cubicBezTo>
                    <a:pt x="6766" y="8804"/>
                    <a:pt x="6956" y="8881"/>
                    <a:pt x="7111" y="8881"/>
                  </a:cubicBezTo>
                  <a:cubicBezTo>
                    <a:pt x="7331" y="8881"/>
                    <a:pt x="7478" y="8724"/>
                    <a:pt x="7478" y="8724"/>
                  </a:cubicBezTo>
                  <a:lnTo>
                    <a:pt x="8147" y="8328"/>
                  </a:lnTo>
                  <a:cubicBezTo>
                    <a:pt x="8147" y="8359"/>
                    <a:pt x="8147" y="8359"/>
                    <a:pt x="8147" y="8359"/>
                  </a:cubicBezTo>
                  <a:cubicBezTo>
                    <a:pt x="8213" y="8705"/>
                    <a:pt x="8472" y="8858"/>
                    <a:pt x="8731" y="8858"/>
                  </a:cubicBezTo>
                  <a:cubicBezTo>
                    <a:pt x="9065" y="8858"/>
                    <a:pt x="9401" y="8604"/>
                    <a:pt x="9332" y="8176"/>
                  </a:cubicBezTo>
                  <a:lnTo>
                    <a:pt x="9271" y="7721"/>
                  </a:lnTo>
                  <a:lnTo>
                    <a:pt x="9271" y="7721"/>
                  </a:lnTo>
                  <a:cubicBezTo>
                    <a:pt x="9313" y="7824"/>
                    <a:pt x="9410" y="7885"/>
                    <a:pt x="9506" y="7885"/>
                  </a:cubicBezTo>
                  <a:cubicBezTo>
                    <a:pt x="9552" y="7885"/>
                    <a:pt x="9597" y="7871"/>
                    <a:pt x="9636" y="7842"/>
                  </a:cubicBezTo>
                  <a:cubicBezTo>
                    <a:pt x="9910" y="7751"/>
                    <a:pt x="10092" y="7477"/>
                    <a:pt x="10031" y="7204"/>
                  </a:cubicBezTo>
                  <a:lnTo>
                    <a:pt x="9545" y="3860"/>
                  </a:lnTo>
                  <a:cubicBezTo>
                    <a:pt x="9515" y="3708"/>
                    <a:pt x="9454" y="3617"/>
                    <a:pt x="9363" y="3526"/>
                  </a:cubicBezTo>
                  <a:lnTo>
                    <a:pt x="7448" y="2006"/>
                  </a:lnTo>
                  <a:cubicBezTo>
                    <a:pt x="7904" y="1945"/>
                    <a:pt x="8329" y="1793"/>
                    <a:pt x="8724" y="1581"/>
                  </a:cubicBezTo>
                  <a:cubicBezTo>
                    <a:pt x="9414" y="1209"/>
                    <a:pt x="9479" y="467"/>
                    <a:pt x="8998" y="467"/>
                  </a:cubicBezTo>
                  <a:cubicBezTo>
                    <a:pt x="8928" y="467"/>
                    <a:pt x="8847" y="482"/>
                    <a:pt x="8755" y="517"/>
                  </a:cubicBezTo>
                  <a:cubicBezTo>
                    <a:pt x="8178" y="632"/>
                    <a:pt x="7602" y="685"/>
                    <a:pt x="7030" y="685"/>
                  </a:cubicBezTo>
                  <a:cubicBezTo>
                    <a:pt x="6547" y="685"/>
                    <a:pt x="6067" y="647"/>
                    <a:pt x="5593" y="578"/>
                  </a:cubicBezTo>
                  <a:cubicBezTo>
                    <a:pt x="5350" y="517"/>
                    <a:pt x="5107" y="547"/>
                    <a:pt x="4864" y="517"/>
                  </a:cubicBezTo>
                  <a:cubicBezTo>
                    <a:pt x="4135" y="334"/>
                    <a:pt x="2402" y="0"/>
                    <a:pt x="2402" y="0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50" name="Google Shape;528;g191abe3b490_12_4485"/>
            <p:cNvSpPr/>
            <p:nvPr/>
          </p:nvSpPr>
          <p:spPr>
            <a:xfrm>
              <a:off x="5896275" y="2505650"/>
              <a:ext cx="50925" cy="120075"/>
            </a:xfrm>
            <a:custGeom>
              <a:avLst/>
              <a:ahLst/>
              <a:rect l="l" t="t" r="r" b="b"/>
              <a:pathLst>
                <a:path w="2037" h="4803" extrusionOk="0">
                  <a:moveTo>
                    <a:pt x="0" y="0"/>
                  </a:moveTo>
                  <a:cubicBezTo>
                    <a:pt x="183" y="183"/>
                    <a:pt x="426" y="335"/>
                    <a:pt x="669" y="487"/>
                  </a:cubicBezTo>
                  <a:lnTo>
                    <a:pt x="1003" y="699"/>
                  </a:lnTo>
                  <a:cubicBezTo>
                    <a:pt x="1125" y="760"/>
                    <a:pt x="1216" y="882"/>
                    <a:pt x="1277" y="1003"/>
                  </a:cubicBezTo>
                  <a:cubicBezTo>
                    <a:pt x="1368" y="1307"/>
                    <a:pt x="1459" y="1672"/>
                    <a:pt x="1520" y="2037"/>
                  </a:cubicBezTo>
                  <a:cubicBezTo>
                    <a:pt x="1611" y="2797"/>
                    <a:pt x="1763" y="3496"/>
                    <a:pt x="1824" y="4013"/>
                  </a:cubicBezTo>
                  <a:cubicBezTo>
                    <a:pt x="1855" y="4256"/>
                    <a:pt x="1915" y="4529"/>
                    <a:pt x="1976" y="4803"/>
                  </a:cubicBezTo>
                  <a:cubicBezTo>
                    <a:pt x="2007" y="4529"/>
                    <a:pt x="2037" y="4256"/>
                    <a:pt x="2007" y="3982"/>
                  </a:cubicBezTo>
                  <a:cubicBezTo>
                    <a:pt x="1946" y="3465"/>
                    <a:pt x="1824" y="2766"/>
                    <a:pt x="1733" y="2006"/>
                  </a:cubicBezTo>
                  <a:cubicBezTo>
                    <a:pt x="1672" y="1642"/>
                    <a:pt x="1581" y="1277"/>
                    <a:pt x="1459" y="943"/>
                  </a:cubicBezTo>
                  <a:cubicBezTo>
                    <a:pt x="1399" y="760"/>
                    <a:pt x="1277" y="639"/>
                    <a:pt x="1095" y="547"/>
                  </a:cubicBezTo>
                  <a:lnTo>
                    <a:pt x="760" y="365"/>
                  </a:lnTo>
                  <a:cubicBezTo>
                    <a:pt x="517" y="213"/>
                    <a:pt x="244" y="92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51" name="Google Shape;529;g191abe3b490_12_4485"/>
            <p:cNvSpPr/>
            <p:nvPr/>
          </p:nvSpPr>
          <p:spPr>
            <a:xfrm>
              <a:off x="5920600" y="2494450"/>
              <a:ext cx="53200" cy="115325"/>
            </a:xfrm>
            <a:custGeom>
              <a:avLst/>
              <a:ahLst/>
              <a:rect l="l" t="t" r="r" b="b"/>
              <a:pathLst>
                <a:path w="2128" h="4613" extrusionOk="0">
                  <a:moveTo>
                    <a:pt x="61" y="0"/>
                  </a:moveTo>
                  <a:cubicBezTo>
                    <a:pt x="23" y="0"/>
                    <a:pt x="0" y="8"/>
                    <a:pt x="0" y="23"/>
                  </a:cubicBezTo>
                  <a:cubicBezTo>
                    <a:pt x="0" y="23"/>
                    <a:pt x="61" y="53"/>
                    <a:pt x="182" y="114"/>
                  </a:cubicBezTo>
                  <a:cubicBezTo>
                    <a:pt x="365" y="205"/>
                    <a:pt x="517" y="296"/>
                    <a:pt x="669" y="418"/>
                  </a:cubicBezTo>
                  <a:cubicBezTo>
                    <a:pt x="882" y="600"/>
                    <a:pt x="1094" y="813"/>
                    <a:pt x="1277" y="995"/>
                  </a:cubicBezTo>
                  <a:cubicBezTo>
                    <a:pt x="1459" y="1299"/>
                    <a:pt x="1550" y="1603"/>
                    <a:pt x="1581" y="1938"/>
                  </a:cubicBezTo>
                  <a:cubicBezTo>
                    <a:pt x="1915" y="3397"/>
                    <a:pt x="2037" y="4613"/>
                    <a:pt x="2097" y="4613"/>
                  </a:cubicBezTo>
                  <a:cubicBezTo>
                    <a:pt x="2128" y="4339"/>
                    <a:pt x="2097" y="4065"/>
                    <a:pt x="2067" y="3822"/>
                  </a:cubicBezTo>
                  <a:cubicBezTo>
                    <a:pt x="2006" y="3154"/>
                    <a:pt x="1915" y="2546"/>
                    <a:pt x="1793" y="1907"/>
                  </a:cubicBezTo>
                  <a:cubicBezTo>
                    <a:pt x="1733" y="1543"/>
                    <a:pt x="1611" y="1178"/>
                    <a:pt x="1398" y="874"/>
                  </a:cubicBezTo>
                  <a:cubicBezTo>
                    <a:pt x="1216" y="661"/>
                    <a:pt x="973" y="479"/>
                    <a:pt x="730" y="327"/>
                  </a:cubicBezTo>
                  <a:cubicBezTo>
                    <a:pt x="578" y="205"/>
                    <a:pt x="395" y="114"/>
                    <a:pt x="213" y="23"/>
                  </a:cubicBezTo>
                  <a:cubicBezTo>
                    <a:pt x="152" y="8"/>
                    <a:pt x="99" y="0"/>
                    <a:pt x="61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52" name="Google Shape;530;g191abe3b490_12_4485"/>
            <p:cNvSpPr/>
            <p:nvPr/>
          </p:nvSpPr>
          <p:spPr>
            <a:xfrm>
              <a:off x="5871200" y="2530725"/>
              <a:ext cx="58525" cy="101100"/>
            </a:xfrm>
            <a:custGeom>
              <a:avLst/>
              <a:ahLst/>
              <a:rect l="l" t="t" r="r" b="b"/>
              <a:pathLst>
                <a:path w="2341" h="4044" extrusionOk="0">
                  <a:moveTo>
                    <a:pt x="0" y="0"/>
                  </a:moveTo>
                  <a:lnTo>
                    <a:pt x="0" y="0"/>
                  </a:lnTo>
                  <a:cubicBezTo>
                    <a:pt x="152" y="183"/>
                    <a:pt x="365" y="304"/>
                    <a:pt x="578" y="426"/>
                  </a:cubicBezTo>
                  <a:lnTo>
                    <a:pt x="882" y="639"/>
                  </a:lnTo>
                  <a:cubicBezTo>
                    <a:pt x="1003" y="700"/>
                    <a:pt x="1125" y="760"/>
                    <a:pt x="1186" y="882"/>
                  </a:cubicBezTo>
                  <a:cubicBezTo>
                    <a:pt x="1277" y="973"/>
                    <a:pt x="1338" y="1095"/>
                    <a:pt x="1368" y="1247"/>
                  </a:cubicBezTo>
                  <a:lnTo>
                    <a:pt x="1520" y="1733"/>
                  </a:lnTo>
                  <a:cubicBezTo>
                    <a:pt x="1733" y="2523"/>
                    <a:pt x="2006" y="3283"/>
                    <a:pt x="2341" y="4043"/>
                  </a:cubicBezTo>
                  <a:cubicBezTo>
                    <a:pt x="2189" y="3222"/>
                    <a:pt x="1976" y="2432"/>
                    <a:pt x="1703" y="1672"/>
                  </a:cubicBezTo>
                  <a:cubicBezTo>
                    <a:pt x="1642" y="1490"/>
                    <a:pt x="1611" y="1338"/>
                    <a:pt x="1551" y="1186"/>
                  </a:cubicBezTo>
                  <a:cubicBezTo>
                    <a:pt x="1520" y="1034"/>
                    <a:pt x="1429" y="882"/>
                    <a:pt x="1338" y="730"/>
                  </a:cubicBezTo>
                  <a:cubicBezTo>
                    <a:pt x="1216" y="639"/>
                    <a:pt x="1095" y="548"/>
                    <a:pt x="973" y="487"/>
                  </a:cubicBezTo>
                  <a:lnTo>
                    <a:pt x="639" y="304"/>
                  </a:lnTo>
                  <a:cubicBezTo>
                    <a:pt x="426" y="152"/>
                    <a:pt x="213" y="61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553" name="Google Shape;531;g191abe3b490_12_4485"/>
            <p:cNvSpPr/>
            <p:nvPr/>
          </p:nvSpPr>
          <p:spPr>
            <a:xfrm>
              <a:off x="5874225" y="2439900"/>
              <a:ext cx="72225" cy="41600"/>
            </a:xfrm>
            <a:custGeom>
              <a:avLst/>
              <a:ahLst/>
              <a:rect l="l" t="t" r="r" b="b"/>
              <a:pathLst>
                <a:path w="2889" h="1664" extrusionOk="0">
                  <a:moveTo>
                    <a:pt x="40" y="0"/>
                  </a:moveTo>
                  <a:cubicBezTo>
                    <a:pt x="18" y="0"/>
                    <a:pt x="5" y="5"/>
                    <a:pt x="1" y="16"/>
                  </a:cubicBezTo>
                  <a:cubicBezTo>
                    <a:pt x="123" y="108"/>
                    <a:pt x="274" y="199"/>
                    <a:pt x="426" y="259"/>
                  </a:cubicBezTo>
                  <a:lnTo>
                    <a:pt x="1430" y="837"/>
                  </a:lnTo>
                  <a:cubicBezTo>
                    <a:pt x="2169" y="1264"/>
                    <a:pt x="2749" y="1664"/>
                    <a:pt x="2845" y="1664"/>
                  </a:cubicBezTo>
                  <a:cubicBezTo>
                    <a:pt x="2852" y="1664"/>
                    <a:pt x="2856" y="1662"/>
                    <a:pt x="2858" y="1658"/>
                  </a:cubicBezTo>
                  <a:cubicBezTo>
                    <a:pt x="2889" y="1627"/>
                    <a:pt x="2311" y="1141"/>
                    <a:pt x="1521" y="685"/>
                  </a:cubicBezTo>
                  <a:cubicBezTo>
                    <a:pt x="825" y="284"/>
                    <a:pt x="200" y="0"/>
                    <a:pt x="4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accent3"/>
        </a:solidFill>
      </p:bgPr>
    </p:bg>
    <p:spTree>
      <p:nvGrpSpPr>
        <p:cNvPr id="504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5" name="Google Shape;533;g191abe3b490_12_4722"/>
          <p:cNvGrpSpPr/>
          <p:nvPr/>
        </p:nvGrpSpPr>
        <p:grpSpPr>
          <a:xfrm rot="-6901706">
            <a:off x="-3054112" y="-3360003"/>
            <a:ext cx="13959210" cy="13849267"/>
            <a:chOff x="1145993" y="462919"/>
            <a:chExt cx="5057544" cy="4964122"/>
          </a:xfrm>
        </p:grpSpPr>
        <p:sp>
          <p:nvSpPr>
            <p:cNvPr id="1050314" name="Google Shape;534;g191abe3b490_12_4722"/>
            <p:cNvSpPr/>
            <p:nvPr/>
          </p:nvSpPr>
          <p:spPr>
            <a:xfrm rot="-1172623">
              <a:off x="1674173" y="1021364"/>
              <a:ext cx="4001184" cy="3847233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15" name="Google Shape;535;g191abe3b490_12_4722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316" name="Google Shape;536;g191abe3b490_12_4722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317" name="Google Shape;537;g191abe3b490_12_4722"/>
          <p:cNvSpPr txBox="1">
            <a:spLocks noGrp="1"/>
          </p:cNvSpPr>
          <p:nvPr>
            <p:ph type="title"/>
          </p:nvPr>
        </p:nvSpPr>
        <p:spPr>
          <a:xfrm>
            <a:off x="837067" y="2387000"/>
            <a:ext cx="6643200" cy="1122300"/>
          </a:xfrm>
          <a:prstGeom prst="rect"/>
          <a:noFill/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/>
        </p:txBody>
      </p:sp>
      <p:sp>
        <p:nvSpPr>
          <p:cNvPr id="1050318" name="Google Shape;538;g191abe3b490_12_4722"/>
          <p:cNvSpPr txBox="1">
            <a:spLocks noGrp="1"/>
          </p:cNvSpPr>
          <p:nvPr>
            <p:ph type="subTitle" idx="1"/>
          </p:nvPr>
        </p:nvSpPr>
        <p:spPr>
          <a:xfrm>
            <a:off x="837067" y="3509400"/>
            <a:ext cx="6643200" cy="961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516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text lines 2">
  <p:cSld name="CUSTOM_14">
    <p:spTree>
      <p:nvGrpSpPr>
        <p:cNvPr id="499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0" name="Google Shape;541;g191abe3b490_12_4730"/>
          <p:cNvGrpSpPr/>
          <p:nvPr/>
        </p:nvGrpSpPr>
        <p:grpSpPr>
          <a:xfrm rot="1351464">
            <a:off x="-1240819" y="-3942300"/>
            <a:ext cx="14673910" cy="14108031"/>
            <a:chOff x="1786775" y="1002200"/>
            <a:chExt cx="3861800" cy="3712875"/>
          </a:xfrm>
        </p:grpSpPr>
        <p:sp>
          <p:nvSpPr>
            <p:cNvPr id="1050279" name="Google Shape;542;g191abe3b490_12_4730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80" name="Google Shape;543;g191abe3b490_12_4730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81" name="Google Shape;544;g191abe3b490_12_4730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282" name="Google Shape;545;g191abe3b490_12_4730"/>
          <p:cNvSpPr txBox="1">
            <a:spLocks noGrp="1"/>
          </p:cNvSpPr>
          <p:nvPr>
            <p:ph type="subTitle" idx="1"/>
          </p:nvPr>
        </p:nvSpPr>
        <p:spPr>
          <a:xfrm>
            <a:off x="1185017" y="4687333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>
                <a:solidFill>
                  <a:srgbClr val="FFFFFF"/>
                </a:solidFill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3" name="Google Shape;546;g191abe3b490_12_4730"/>
          <p:cNvSpPr txBox="1">
            <a:spLocks noGrp="1"/>
          </p:cNvSpPr>
          <p:nvPr>
            <p:ph type="subTitle" idx="2"/>
          </p:nvPr>
        </p:nvSpPr>
        <p:spPr>
          <a:xfrm>
            <a:off x="7700251" y="2635733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4" name="Google Shape;547;g191abe3b490_12_4730"/>
          <p:cNvSpPr txBox="1">
            <a:spLocks noGrp="1"/>
          </p:cNvSpPr>
          <p:nvPr>
            <p:ph type="subTitle" idx="3"/>
          </p:nvPr>
        </p:nvSpPr>
        <p:spPr>
          <a:xfrm>
            <a:off x="1206717" y="2649967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5" name="Google Shape;548;g191abe3b490_12_4730"/>
          <p:cNvSpPr txBox="1">
            <a:spLocks noGrp="1"/>
          </p:cNvSpPr>
          <p:nvPr>
            <p:ph type="subTitle" idx="4"/>
          </p:nvPr>
        </p:nvSpPr>
        <p:spPr>
          <a:xfrm>
            <a:off x="1185017" y="4130767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6" name="Google Shape;549;g191abe3b490_12_4730"/>
          <p:cNvSpPr txBox="1">
            <a:spLocks noGrp="1"/>
          </p:cNvSpPr>
          <p:nvPr>
            <p:ph type="subTitle" idx="5"/>
          </p:nvPr>
        </p:nvSpPr>
        <p:spPr>
          <a:xfrm>
            <a:off x="7700251" y="2064933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7" name="Google Shape;550;g191abe3b490_12_4730"/>
          <p:cNvSpPr txBox="1">
            <a:spLocks noGrp="1"/>
          </p:cNvSpPr>
          <p:nvPr>
            <p:ph type="subTitle" idx="6"/>
          </p:nvPr>
        </p:nvSpPr>
        <p:spPr>
          <a:xfrm>
            <a:off x="1206717" y="2064933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8" name="Google Shape;551;g191abe3b490_12_4730"/>
          <p:cNvSpPr txBox="1">
            <a:spLocks noGrp="1"/>
          </p:cNvSpPr>
          <p:nvPr>
            <p:ph type="subTitle" idx="7"/>
          </p:nvPr>
        </p:nvSpPr>
        <p:spPr>
          <a:xfrm>
            <a:off x="7700251" y="4673651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0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89" name="Google Shape;552;g191abe3b490_12_4730"/>
          <p:cNvSpPr txBox="1">
            <a:spLocks noGrp="1"/>
          </p:cNvSpPr>
          <p:nvPr>
            <p:ph type="subTitle" idx="8"/>
          </p:nvPr>
        </p:nvSpPr>
        <p:spPr>
          <a:xfrm>
            <a:off x="7700251" y="4102851"/>
            <a:ext cx="3228300" cy="57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2500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/>
        </p:txBody>
      </p:sp>
      <p:sp>
        <p:nvSpPr>
          <p:cNvPr id="1050290" name="Google Shape;553;g191abe3b490_12_47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chemeClr val="lt1"/>
                </a:solidFill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>
                <a:solidFill>
                  <a:srgbClr val="FFFFFF"/>
                </a:solidFill>
              </a:defRPr>
            </a:lvl9pPr>
          </a:lstStyle>
          <a:p/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25">
    <p:bg>
      <p:bgPr>
        <a:solidFill>
          <a:schemeClr val="accent3"/>
        </a:solidFill>
      </p:bgPr>
    </p:bg>
    <p:spTree>
      <p:nvGrpSpPr>
        <p:cNvPr id="514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4">
  <p:cSld name="Placeholder 04">
    <p:spTree>
      <p:nvGrpSpPr>
        <p:cNvPr id="535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53" name="Google Shape;23;p21"/>
          <p:cNvSpPr>
            <a:spLocks noGrp="1"/>
          </p:cNvSpPr>
          <p:nvPr>
            <p:ph type="pic" idx="2"/>
          </p:nvPr>
        </p:nvSpPr>
        <p:spPr>
          <a:xfrm>
            <a:off x="0" y="0"/>
            <a:ext cx="373761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1">
  <p:cSld name="Placeholder 01">
    <p:spTree>
      <p:nvGrpSpPr>
        <p:cNvPr id="57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44" name="Google Shape;558;g1a3c0ec783c_4_2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557784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2">
  <p:cSld name="Placeholder 02">
    <p:spTree>
      <p:nvGrpSpPr>
        <p:cNvPr id="180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71" name="Google Shape;560;g1a3c0ec783c_4_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404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s and descriptions">
  <p:cSld name="Title, subtitles and descriptions">
    <p:bg>
      <p:bgPr>
        <a:solidFill>
          <a:schemeClr val="accent3"/>
        </a:solidFill>
      </p:bgPr>
    </p:bg>
    <p:spTree>
      <p:nvGrpSpPr>
        <p:cNvPr id="149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7" name="Google Shape;562;g1a3c0ec783c_4_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Calibri"/>
              <a:buNone/>
              <a:defRPr b="0" cap="none" sz="44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48588" name="Google Shape;563;g1a3c0ec783c_4_6"/>
          <p:cNvSpPr txBox="1">
            <a:spLocks noGrp="1"/>
          </p:cNvSpPr>
          <p:nvPr>
            <p:ph type="subTitle" idx="1"/>
          </p:nvPr>
        </p:nvSpPr>
        <p:spPr>
          <a:xfrm>
            <a:off x="8750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89" name="Google Shape;564;g1a3c0ec783c_4_6"/>
          <p:cNvSpPr txBox="1">
            <a:spLocks noGrp="1"/>
          </p:cNvSpPr>
          <p:nvPr>
            <p:ph type="subTitle" idx="2"/>
          </p:nvPr>
        </p:nvSpPr>
        <p:spPr>
          <a:xfrm>
            <a:off x="8750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0" name="Google Shape;565;g1a3c0ec783c_4_6"/>
          <p:cNvSpPr txBox="1">
            <a:spLocks noGrp="1"/>
          </p:cNvSpPr>
          <p:nvPr>
            <p:ph type="subTitle" idx="3"/>
          </p:nvPr>
        </p:nvSpPr>
        <p:spPr>
          <a:xfrm>
            <a:off x="44818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1" name="Google Shape;566;g1a3c0ec783c_4_6"/>
          <p:cNvSpPr txBox="1">
            <a:spLocks noGrp="1"/>
          </p:cNvSpPr>
          <p:nvPr>
            <p:ph type="subTitle" idx="4"/>
          </p:nvPr>
        </p:nvSpPr>
        <p:spPr>
          <a:xfrm>
            <a:off x="44818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2" name="Google Shape;567;g1a3c0ec783c_4_6"/>
          <p:cNvSpPr txBox="1">
            <a:spLocks noGrp="1"/>
          </p:cNvSpPr>
          <p:nvPr>
            <p:ph type="subTitle" idx="5"/>
          </p:nvPr>
        </p:nvSpPr>
        <p:spPr>
          <a:xfrm>
            <a:off x="8088600" y="2977775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3" name="Google Shape;568;g1a3c0ec783c_4_6"/>
          <p:cNvSpPr txBox="1">
            <a:spLocks noGrp="1"/>
          </p:cNvSpPr>
          <p:nvPr>
            <p:ph type="subTitle" idx="6"/>
          </p:nvPr>
        </p:nvSpPr>
        <p:spPr>
          <a:xfrm>
            <a:off x="8088600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4" name="Google Shape;569;g1a3c0ec783c_4_6"/>
          <p:cNvSpPr txBox="1">
            <a:spLocks noGrp="1"/>
          </p:cNvSpPr>
          <p:nvPr>
            <p:ph type="subTitle" idx="7"/>
          </p:nvPr>
        </p:nvSpPr>
        <p:spPr>
          <a:xfrm>
            <a:off x="8750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5" name="Google Shape;570;g1a3c0ec783c_4_6"/>
          <p:cNvSpPr txBox="1">
            <a:spLocks noGrp="1"/>
          </p:cNvSpPr>
          <p:nvPr>
            <p:ph type="subTitle" idx="8"/>
          </p:nvPr>
        </p:nvSpPr>
        <p:spPr>
          <a:xfrm>
            <a:off x="8750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6" name="Google Shape;571;g1a3c0ec783c_4_6"/>
          <p:cNvSpPr txBox="1">
            <a:spLocks noGrp="1"/>
          </p:cNvSpPr>
          <p:nvPr>
            <p:ph type="subTitle" idx="9"/>
          </p:nvPr>
        </p:nvSpPr>
        <p:spPr>
          <a:xfrm>
            <a:off x="44818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7" name="Google Shape;572;g1a3c0ec783c_4_6"/>
          <p:cNvSpPr txBox="1">
            <a:spLocks noGrp="1"/>
          </p:cNvSpPr>
          <p:nvPr>
            <p:ph type="subTitle" idx="13"/>
          </p:nvPr>
        </p:nvSpPr>
        <p:spPr>
          <a:xfrm>
            <a:off x="44818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8" name="Google Shape;573;g1a3c0ec783c_4_6"/>
          <p:cNvSpPr txBox="1">
            <a:spLocks noGrp="1"/>
          </p:cNvSpPr>
          <p:nvPr>
            <p:ph type="subTitle" idx="14"/>
          </p:nvPr>
        </p:nvSpPr>
        <p:spPr>
          <a:xfrm>
            <a:off x="8088600" y="5446300"/>
            <a:ext cx="3228300" cy="891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1900" i="0" strike="noStrike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599" name="Google Shape;574;g1a3c0ec783c_4_6"/>
          <p:cNvSpPr txBox="1">
            <a:spLocks noGrp="1"/>
          </p:cNvSpPr>
          <p:nvPr>
            <p:ph type="subTitle" idx="15"/>
          </p:nvPr>
        </p:nvSpPr>
        <p:spPr>
          <a:xfrm>
            <a:off x="80886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700"/>
              <a:buFont typeface="Arial"/>
              <a:buNone/>
              <a:defRPr b="0" cap="none" sz="2500" i="0" strike="noStrike" u="none">
                <a:solidFill>
                  <a:srgbClr val="FFFFFF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600" name="Google Shape;575;g1a3c0ec783c_4_6"/>
          <p:cNvSpPr txBox="1">
            <a:spLocks noGrp="1"/>
          </p:cNvSpPr>
          <p:nvPr>
            <p:ph type="title" idx="16"/>
          </p:nvPr>
        </p:nvSpPr>
        <p:spPr>
          <a:xfrm>
            <a:off x="2043067" y="1657033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48601" name="Google Shape;576;g1a3c0ec783c_4_6"/>
          <p:cNvSpPr txBox="1">
            <a:spLocks noGrp="1"/>
          </p:cNvSpPr>
          <p:nvPr>
            <p:ph type="title" idx="17"/>
          </p:nvPr>
        </p:nvSpPr>
        <p:spPr>
          <a:xfrm>
            <a:off x="2043067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48602" name="Google Shape;577;g1a3c0ec783c_4_6"/>
          <p:cNvSpPr txBox="1">
            <a:spLocks noGrp="1"/>
          </p:cNvSpPr>
          <p:nvPr>
            <p:ph type="title" idx="18"/>
          </p:nvPr>
        </p:nvSpPr>
        <p:spPr>
          <a:xfrm>
            <a:off x="5649933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48603" name="Google Shape;578;g1a3c0ec783c_4_6"/>
          <p:cNvSpPr txBox="1">
            <a:spLocks noGrp="1"/>
          </p:cNvSpPr>
          <p:nvPr>
            <p:ph type="title" idx="19"/>
          </p:nvPr>
        </p:nvSpPr>
        <p:spPr>
          <a:xfrm>
            <a:off x="5650000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48604" name="Google Shape;579;g1a3c0ec783c_4_6"/>
          <p:cNvSpPr txBox="1">
            <a:spLocks noGrp="1"/>
          </p:cNvSpPr>
          <p:nvPr>
            <p:ph type="title" idx="20"/>
          </p:nvPr>
        </p:nvSpPr>
        <p:spPr>
          <a:xfrm>
            <a:off x="9256600" y="1657100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  <p:sp>
        <p:nvSpPr>
          <p:cNvPr id="1048605" name="Google Shape;580;g1a3c0ec783c_4_6"/>
          <p:cNvSpPr txBox="1">
            <a:spLocks noGrp="1"/>
          </p:cNvSpPr>
          <p:nvPr>
            <p:ph type="title" idx="21"/>
          </p:nvPr>
        </p:nvSpPr>
        <p:spPr>
          <a:xfrm>
            <a:off x="9256400" y="4112567"/>
            <a:ext cx="8925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  <a:defRPr b="0" cap="none" sz="40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Font typeface="Arial"/>
              <a:buNone/>
              <a:defRPr sz="4000"/>
            </a:lvl9pPr>
          </a:lstStyle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1">
  <p:cSld name="Placeholder 11">
    <p:spTree>
      <p:nvGrpSpPr>
        <p:cNvPr id="154" name="Shape 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1" name="Google Shape;582;g1a3c0ec783c_4_26"/>
          <p:cNvSpPr>
            <a:spLocks noGrp="1"/>
          </p:cNvSpPr>
          <p:nvPr>
            <p:ph type="pic" idx="2"/>
          </p:nvPr>
        </p:nvSpPr>
        <p:spPr>
          <a:xfrm>
            <a:off x="6387465" y="124396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48642" name="Google Shape;583;g1a3c0ec783c_4_26"/>
          <p:cNvSpPr>
            <a:spLocks noGrp="1"/>
          </p:cNvSpPr>
          <p:nvPr>
            <p:ph type="pic" idx="3"/>
          </p:nvPr>
        </p:nvSpPr>
        <p:spPr>
          <a:xfrm>
            <a:off x="8724900" y="3552824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440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573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4" name="Google Shape;586;g1a3c0ec783c_4_30"/>
          <p:cNvGrpSpPr/>
          <p:nvPr/>
        </p:nvGrpSpPr>
        <p:grpSpPr>
          <a:xfrm rot="2506023">
            <a:off x="1699517" y="-937675"/>
            <a:ext cx="9083674" cy="8733375"/>
            <a:chOff x="1786775" y="1002200"/>
            <a:chExt cx="3861800" cy="3712875"/>
          </a:xfrm>
        </p:grpSpPr>
        <p:sp>
          <p:nvSpPr>
            <p:cNvPr id="1050746" name="Google Shape;587;g1a3c0ec783c_4_30"/>
            <p:cNvSpPr/>
            <p:nvPr/>
          </p:nvSpPr>
          <p:spPr>
            <a:xfrm>
              <a:off x="1786775" y="1002200"/>
              <a:ext cx="3861800" cy="3712875"/>
            </a:xfrm>
            <a:custGeom>
              <a:avLst/>
              <a:ahLst/>
              <a:rect l="l" t="t" r="r" b="b"/>
              <a:pathLst>
                <a:path w="154472" h="148515" extrusionOk="0">
                  <a:moveTo>
                    <a:pt x="88939" y="1"/>
                  </a:moveTo>
                  <a:cubicBezTo>
                    <a:pt x="84075" y="1"/>
                    <a:pt x="78478" y="1648"/>
                    <a:pt x="72069" y="5669"/>
                  </a:cubicBezTo>
                  <a:cubicBezTo>
                    <a:pt x="61886" y="12053"/>
                    <a:pt x="57236" y="24332"/>
                    <a:pt x="54895" y="35457"/>
                  </a:cubicBezTo>
                  <a:cubicBezTo>
                    <a:pt x="52919" y="44971"/>
                    <a:pt x="43679" y="50017"/>
                    <a:pt x="36810" y="55214"/>
                  </a:cubicBezTo>
                  <a:cubicBezTo>
                    <a:pt x="28360" y="61658"/>
                    <a:pt x="20214" y="69135"/>
                    <a:pt x="13587" y="77677"/>
                  </a:cubicBezTo>
                  <a:cubicBezTo>
                    <a:pt x="0" y="95245"/>
                    <a:pt x="821" y="110929"/>
                    <a:pt x="9454" y="127465"/>
                  </a:cubicBezTo>
                  <a:cubicBezTo>
                    <a:pt x="12068" y="132419"/>
                    <a:pt x="16505" y="140140"/>
                    <a:pt x="29545" y="145489"/>
                  </a:cubicBezTo>
                  <a:cubicBezTo>
                    <a:pt x="34502" y="147539"/>
                    <a:pt x="39466" y="148514"/>
                    <a:pt x="44435" y="148514"/>
                  </a:cubicBezTo>
                  <a:cubicBezTo>
                    <a:pt x="57077" y="148514"/>
                    <a:pt x="69748" y="142200"/>
                    <a:pt x="82403" y="131203"/>
                  </a:cubicBezTo>
                  <a:cubicBezTo>
                    <a:pt x="86415" y="127708"/>
                    <a:pt x="89850" y="123544"/>
                    <a:pt x="93680" y="119866"/>
                  </a:cubicBezTo>
                  <a:cubicBezTo>
                    <a:pt x="97662" y="115975"/>
                    <a:pt x="102130" y="112601"/>
                    <a:pt x="106902" y="109774"/>
                  </a:cubicBezTo>
                  <a:cubicBezTo>
                    <a:pt x="118027" y="103209"/>
                    <a:pt x="131097" y="99561"/>
                    <a:pt x="140672" y="90868"/>
                  </a:cubicBezTo>
                  <a:cubicBezTo>
                    <a:pt x="145748" y="86279"/>
                    <a:pt x="149608" y="80351"/>
                    <a:pt x="151766" y="73847"/>
                  </a:cubicBezTo>
                  <a:cubicBezTo>
                    <a:pt x="154471" y="65670"/>
                    <a:pt x="152739" y="56977"/>
                    <a:pt x="146721" y="50898"/>
                  </a:cubicBezTo>
                  <a:cubicBezTo>
                    <a:pt x="141037" y="45153"/>
                    <a:pt x="136112" y="44849"/>
                    <a:pt x="130337" y="42205"/>
                  </a:cubicBezTo>
                  <a:cubicBezTo>
                    <a:pt x="123285" y="38892"/>
                    <a:pt x="118392" y="36430"/>
                    <a:pt x="116294" y="28892"/>
                  </a:cubicBezTo>
                  <a:cubicBezTo>
                    <a:pt x="113682" y="19384"/>
                    <a:pt x="105622" y="1"/>
                    <a:pt x="889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747" name="Google Shape;588;g1a3c0ec783c_4_30"/>
            <p:cNvSpPr/>
            <p:nvPr/>
          </p:nvSpPr>
          <p:spPr>
            <a:xfrm>
              <a:off x="2818350" y="1817311"/>
              <a:ext cx="218125" cy="218125"/>
            </a:xfrm>
            <a:custGeom>
              <a:avLst/>
              <a:ahLst/>
              <a:rect l="l" t="t" r="r" b="b"/>
              <a:pathLst>
                <a:path w="8725" h="8725" extrusionOk="0">
                  <a:moveTo>
                    <a:pt x="4377" y="1"/>
                  </a:moveTo>
                  <a:cubicBezTo>
                    <a:pt x="1946" y="1"/>
                    <a:pt x="0" y="1946"/>
                    <a:pt x="0" y="4347"/>
                  </a:cubicBezTo>
                  <a:cubicBezTo>
                    <a:pt x="0" y="6779"/>
                    <a:pt x="1946" y="8724"/>
                    <a:pt x="4377" y="8724"/>
                  </a:cubicBezTo>
                  <a:cubicBezTo>
                    <a:pt x="6779" y="8724"/>
                    <a:pt x="8724" y="6779"/>
                    <a:pt x="8724" y="4347"/>
                  </a:cubicBezTo>
                  <a:cubicBezTo>
                    <a:pt x="8724" y="1946"/>
                    <a:pt x="6779" y="1"/>
                    <a:pt x="43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748" name="Google Shape;589;g1a3c0ec783c_4_30"/>
            <p:cNvSpPr/>
            <p:nvPr/>
          </p:nvSpPr>
          <p:spPr>
            <a:xfrm>
              <a:off x="3016041" y="1693534"/>
              <a:ext cx="96525" cy="96525"/>
            </a:xfrm>
            <a:custGeom>
              <a:avLst/>
              <a:ahLst/>
              <a:rect l="l" t="t" r="r" b="b"/>
              <a:pathLst>
                <a:path w="3861" h="3861" extrusionOk="0">
                  <a:moveTo>
                    <a:pt x="1946" y="1"/>
                  </a:moveTo>
                  <a:cubicBezTo>
                    <a:pt x="851" y="1"/>
                    <a:pt x="0" y="852"/>
                    <a:pt x="0" y="1946"/>
                  </a:cubicBezTo>
                  <a:cubicBezTo>
                    <a:pt x="0" y="3010"/>
                    <a:pt x="851" y="3861"/>
                    <a:pt x="1946" y="3861"/>
                  </a:cubicBezTo>
                  <a:cubicBezTo>
                    <a:pt x="3010" y="3861"/>
                    <a:pt x="3861" y="3010"/>
                    <a:pt x="3861" y="1946"/>
                  </a:cubicBezTo>
                  <a:cubicBezTo>
                    <a:pt x="3861" y="852"/>
                    <a:pt x="3010" y="1"/>
                    <a:pt x="194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749" name="Google Shape;590;g1a3c0ec783c_4_30"/>
          <p:cNvSpPr txBox="1">
            <a:spLocks noGrp="1"/>
          </p:cNvSpPr>
          <p:nvPr>
            <p:ph type="title"/>
          </p:nvPr>
        </p:nvSpPr>
        <p:spPr>
          <a:xfrm>
            <a:off x="1769400" y="2130784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0"/>
              <a:buFont typeface="Calibri"/>
              <a:buNone/>
              <a:defRPr b="0" cap="none" sz="6700" i="0" strike="noStrike" u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Font typeface="Arial"/>
              <a:buNone/>
              <a:defRPr sz="16000"/>
            </a:lvl9pPr>
          </a:lstStyle>
          <a:p/>
        </p:txBody>
      </p:sp>
      <p:sp>
        <p:nvSpPr>
          <p:cNvPr id="1050750" name="Google Shape;591;g1a3c0ec783c_4_30"/>
          <p:cNvSpPr txBox="1">
            <a:spLocks noGrp="1"/>
          </p:cNvSpPr>
          <p:nvPr>
            <p:ph type="subTitle" idx="1"/>
          </p:nvPr>
        </p:nvSpPr>
        <p:spPr>
          <a:xfrm>
            <a:off x="1769400" y="3927284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 2">
  <p:cSld name="One column text 2">
    <p:spTree>
      <p:nvGrpSpPr>
        <p:cNvPr id="228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8" name="Google Shape;593;g1a3c0ec783c_4_37"/>
          <p:cNvSpPr txBox="1">
            <a:spLocks noGrp="1"/>
          </p:cNvSpPr>
          <p:nvPr>
            <p:ph type="title"/>
          </p:nvPr>
        </p:nvSpPr>
        <p:spPr>
          <a:xfrm>
            <a:off x="5437833" y="1559133"/>
            <a:ext cx="6179700" cy="2999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Fredoka One"/>
              <a:buNone/>
              <a:defRPr b="0" cap="none" sz="96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48879" name="Google Shape;594;g1a3c0ec783c_4_37"/>
          <p:cNvSpPr txBox="1">
            <a:spLocks noGrp="1"/>
          </p:cNvSpPr>
          <p:nvPr>
            <p:ph type="subTitle" idx="1"/>
          </p:nvPr>
        </p:nvSpPr>
        <p:spPr>
          <a:xfrm>
            <a:off x="5437833" y="4558733"/>
            <a:ext cx="42717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2">
  <p:cSld name="Title and body 2">
    <p:spTree>
      <p:nvGrpSpPr>
        <p:cNvPr id="233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7" name="Google Shape;596;g1a3c0ec783c_4_40"/>
          <p:cNvSpPr txBox="1">
            <a:spLocks noGrp="1"/>
          </p:cNvSpPr>
          <p:nvPr>
            <p:ph type="title"/>
          </p:nvPr>
        </p:nvSpPr>
        <p:spPr>
          <a:xfrm>
            <a:off x="914400" y="593367"/>
            <a:ext cx="103632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Calibri"/>
              <a:buNone/>
              <a:defRPr b="0" cap="none" sz="4400" i="0" strike="noStrike" u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ctr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ctr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ctr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ctr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ctr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ctr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ctr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ctr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48898" name="Google Shape;597;g1a3c0ec783c_4_40"/>
          <p:cNvSpPr txBox="1">
            <a:spLocks noGrp="1"/>
          </p:cNvSpPr>
          <p:nvPr>
            <p:ph type="subTitle" idx="1"/>
          </p:nvPr>
        </p:nvSpPr>
        <p:spPr>
          <a:xfrm>
            <a:off x="965200" y="1464700"/>
            <a:ext cx="10312500" cy="4675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16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●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○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Char char="■"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8899" name="Google Shape;598;g1a3c0ec783c_4_40"/>
          <p:cNvSpPr/>
          <p:nvPr/>
        </p:nvSpPr>
        <p:spPr>
          <a:xfrm>
            <a:off x="148400" y="223467"/>
            <a:ext cx="625500" cy="6255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900" name="Google Shape;599;g1a3c0ec783c_4_40"/>
          <p:cNvSpPr/>
          <p:nvPr/>
        </p:nvSpPr>
        <p:spPr>
          <a:xfrm>
            <a:off x="860100" y="723467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901" name="Google Shape;600;g1a3c0ec783c_4_40"/>
          <p:cNvSpPr/>
          <p:nvPr/>
        </p:nvSpPr>
        <p:spPr>
          <a:xfrm>
            <a:off x="11620300" y="3017200"/>
            <a:ext cx="357900" cy="3579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902" name="Google Shape;601;g1a3c0ec783c_4_40"/>
          <p:cNvSpPr/>
          <p:nvPr/>
        </p:nvSpPr>
        <p:spPr>
          <a:xfrm>
            <a:off x="11900867" y="3518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903" name="Google Shape;602;g1a3c0ec783c_4_40"/>
          <p:cNvSpPr/>
          <p:nvPr/>
        </p:nvSpPr>
        <p:spPr>
          <a:xfrm>
            <a:off x="11978300" y="2596033"/>
            <a:ext cx="48000" cy="480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8904" name="Google Shape;603;g1a3c0ec783c_4_40"/>
          <p:cNvSpPr/>
          <p:nvPr/>
        </p:nvSpPr>
        <p:spPr>
          <a:xfrm>
            <a:off x="398400" y="6317900"/>
            <a:ext cx="125700" cy="125700"/>
          </a:xfrm>
          <a:prstGeom prst="ellipse"/>
          <a:solidFill>
            <a:schemeClr val="accent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Title and three columns 2">
    <p:bg>
      <p:bgPr>
        <a:solidFill>
          <a:schemeClr val="lt1"/>
        </a:solidFill>
      </p:bgPr>
    </p:bg>
    <p:spTree>
      <p:nvGrpSpPr>
        <p:cNvPr id="276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14" name="Google Shape;605;g1a3c0ec783c_4_4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Fredoka One"/>
              <a:buNone/>
              <a:defRPr b="0" cap="none" sz="44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2pPr>
            <a:lvl3pPr algn="l"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3pPr>
            <a:lvl4pPr algn="l"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4pPr>
            <a:lvl5pPr algn="l"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5pPr>
            <a:lvl6pPr algn="l"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6pPr>
            <a:lvl7pPr algn="l"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7pPr>
            <a:lvl8pPr algn="l"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8pPr>
            <a:lvl9pPr algn="l"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Font typeface="Arial"/>
              <a:buNone/>
              <a:defRPr sz="1800"/>
            </a:lvl9pPr>
          </a:lstStyle>
          <a:p/>
        </p:txBody>
      </p:sp>
      <p:sp>
        <p:nvSpPr>
          <p:cNvPr id="1049115" name="Google Shape;606;g1a3c0ec783c_4_49"/>
          <p:cNvSpPr txBox="1">
            <a:spLocks noGrp="1"/>
          </p:cNvSpPr>
          <p:nvPr>
            <p:ph type="subTitle" idx="1"/>
          </p:nvPr>
        </p:nvSpPr>
        <p:spPr>
          <a:xfrm>
            <a:off x="699748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116" name="Google Shape;607;g1a3c0ec783c_4_49"/>
          <p:cNvSpPr txBox="1">
            <a:spLocks noGrp="1"/>
          </p:cNvSpPr>
          <p:nvPr>
            <p:ph type="subTitle" idx="2"/>
          </p:nvPr>
        </p:nvSpPr>
        <p:spPr>
          <a:xfrm>
            <a:off x="4675021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117" name="Google Shape;608;g1a3c0ec783c_4_49"/>
          <p:cNvSpPr txBox="1">
            <a:spLocks noGrp="1"/>
          </p:cNvSpPr>
          <p:nvPr>
            <p:ph type="subTitle" idx="3"/>
          </p:nvPr>
        </p:nvSpPr>
        <p:spPr>
          <a:xfrm>
            <a:off x="92194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118" name="Google Shape;609;g1a3c0ec783c_4_49"/>
          <p:cNvSpPr txBox="1">
            <a:spLocks noGrp="1"/>
          </p:cNvSpPr>
          <p:nvPr>
            <p:ph type="subTitle" idx="4"/>
          </p:nvPr>
        </p:nvSpPr>
        <p:spPr>
          <a:xfrm>
            <a:off x="4897088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119" name="Google Shape;610;g1a3c0ec783c_4_49"/>
          <p:cNvSpPr txBox="1">
            <a:spLocks noGrp="1"/>
          </p:cNvSpPr>
          <p:nvPr>
            <p:ph type="subTitle" idx="5"/>
          </p:nvPr>
        </p:nvSpPr>
        <p:spPr>
          <a:xfrm>
            <a:off x="8650296" y="3853620"/>
            <a:ext cx="2832000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1900" i="0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049120" name="Google Shape;611;g1a3c0ec783c_4_49"/>
          <p:cNvSpPr txBox="1">
            <a:spLocks noGrp="1"/>
          </p:cNvSpPr>
          <p:nvPr>
            <p:ph type="subTitle" idx="6"/>
          </p:nvPr>
        </p:nvSpPr>
        <p:spPr>
          <a:xfrm>
            <a:off x="8872379" y="3242617"/>
            <a:ext cx="23877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3700"/>
              <a:buFont typeface="Arial"/>
              <a:buNone/>
              <a:defRPr b="0" cap="none" sz="2500" i="0" strike="noStrike" u="none">
                <a:solidFill>
                  <a:schemeClr val="accent3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ctr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  <a:defRPr b="0" cap="none" sz="37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8">
  <p:cSld name="Placeholder 08">
    <p:spTree>
      <p:nvGrpSpPr>
        <p:cNvPr id="575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51" name="Google Shape;613;g1a3c0ec783c_4_57"/>
          <p:cNvSpPr>
            <a:spLocks noGrp="1"/>
          </p:cNvSpPr>
          <p:nvPr>
            <p:ph type="pic" idx="2"/>
          </p:nvPr>
        </p:nvSpPr>
        <p:spPr>
          <a:xfrm>
            <a:off x="2207910" y="1938856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52" name="Google Shape;614;g1a3c0ec783c_4_57"/>
          <p:cNvSpPr>
            <a:spLocks noGrp="1"/>
          </p:cNvSpPr>
          <p:nvPr>
            <p:ph type="pic" idx="3"/>
          </p:nvPr>
        </p:nvSpPr>
        <p:spPr>
          <a:xfrm>
            <a:off x="5217809" y="1938855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53" name="Google Shape;615;g1a3c0ec783c_4_57"/>
          <p:cNvSpPr>
            <a:spLocks noGrp="1"/>
          </p:cNvSpPr>
          <p:nvPr>
            <p:ph type="pic" idx="4"/>
          </p:nvPr>
        </p:nvSpPr>
        <p:spPr>
          <a:xfrm>
            <a:off x="8227710" y="1938854"/>
            <a:ext cx="1756379" cy="1690947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5">
  <p:cSld name="Placeholder 05">
    <p:spTree>
      <p:nvGrpSpPr>
        <p:cNvPr id="546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87" name="Google Shape;25;p22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26289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2">
  <p:cSld name="1_Placeholder 02">
    <p:spTree>
      <p:nvGrpSpPr>
        <p:cNvPr id="583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8" name="Google Shape;617;g1a3c0ec783c_4_6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404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9">
  <p:cSld name="Placeholder 29">
    <p:spTree>
      <p:nvGrpSpPr>
        <p:cNvPr id="559" name="Shape 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9" name="Google Shape;619;g1a3c0ec783c_4_63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276606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3">
  <p:cSld name="Placeholder 03">
    <p:spTree>
      <p:nvGrpSpPr>
        <p:cNvPr id="564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29" name="Google Shape;621;g1a3c0ec783c_4_65"/>
          <p:cNvSpPr>
            <a:spLocks noGrp="1"/>
          </p:cNvSpPr>
          <p:nvPr>
            <p:ph type="pic" idx="2"/>
          </p:nvPr>
        </p:nvSpPr>
        <p:spPr>
          <a:xfrm>
            <a:off x="6709410" y="0"/>
            <a:ext cx="548259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4">
  <p:cSld name="Placeholder 04">
    <p:spTree>
      <p:nvGrpSpPr>
        <p:cNvPr id="569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41" name="Google Shape;623;g1a3c0ec783c_4_67"/>
          <p:cNvSpPr>
            <a:spLocks noGrp="1"/>
          </p:cNvSpPr>
          <p:nvPr>
            <p:ph type="pic" idx="2"/>
          </p:nvPr>
        </p:nvSpPr>
        <p:spPr>
          <a:xfrm>
            <a:off x="0" y="0"/>
            <a:ext cx="373761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5">
  <p:cSld name="Placeholder 05">
    <p:spTree>
      <p:nvGrpSpPr>
        <p:cNvPr id="58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2" name="Google Shape;625;g1a3c0ec783c_4_6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26289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6">
  <p:cSld name="Placeholder 06">
    <p:spTree>
      <p:nvGrpSpPr>
        <p:cNvPr id="556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4" name="Google Shape;627;g1a3c0ec783c_4_71"/>
          <p:cNvSpPr>
            <a:spLocks noGrp="1"/>
          </p:cNvSpPr>
          <p:nvPr>
            <p:ph type="pic" idx="2"/>
          </p:nvPr>
        </p:nvSpPr>
        <p:spPr>
          <a:xfrm>
            <a:off x="0" y="841374"/>
            <a:ext cx="3105583" cy="5240339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15" name="Google Shape;628;g1a3c0ec783c_4_71"/>
          <p:cNvSpPr>
            <a:spLocks noGrp="1"/>
          </p:cNvSpPr>
          <p:nvPr>
            <p:ph type="pic" idx="3"/>
          </p:nvPr>
        </p:nvSpPr>
        <p:spPr>
          <a:xfrm>
            <a:off x="3105583" y="841373"/>
            <a:ext cx="3105583" cy="5240339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7">
  <p:cSld name="Placeholder 07">
    <p:spTree>
      <p:nvGrpSpPr>
        <p:cNvPr id="557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6" name="Google Shape;630;g1a3c0ec783c_4_74"/>
          <p:cNvSpPr>
            <a:spLocks noGrp="1"/>
          </p:cNvSpPr>
          <p:nvPr>
            <p:ph type="pic" idx="2"/>
          </p:nvPr>
        </p:nvSpPr>
        <p:spPr>
          <a:xfrm>
            <a:off x="0" y="0"/>
            <a:ext cx="4762500" cy="685800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17" name="Google Shape;631;g1a3c0ec783c_4_74"/>
          <p:cNvSpPr>
            <a:spLocks noGrp="1"/>
          </p:cNvSpPr>
          <p:nvPr>
            <p:ph type="pic" idx="3"/>
          </p:nvPr>
        </p:nvSpPr>
        <p:spPr>
          <a:xfrm>
            <a:off x="3813709" y="3783330"/>
            <a:ext cx="1897582" cy="1908810"/>
          </a:xfrm>
          <a:prstGeom prst="ellipse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9">
  <p:cSld name="Placeholder 09">
    <p:spTree>
      <p:nvGrpSpPr>
        <p:cNvPr id="565" name="Shape 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30" name="Google Shape;633;g1a3c0ec783c_4_77"/>
          <p:cNvSpPr>
            <a:spLocks noGrp="1"/>
          </p:cNvSpPr>
          <p:nvPr>
            <p:ph type="pic" idx="2"/>
          </p:nvPr>
        </p:nvSpPr>
        <p:spPr>
          <a:xfrm>
            <a:off x="996330" y="2247466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1" name="Google Shape;634;g1a3c0ec783c_4_77"/>
          <p:cNvSpPr>
            <a:spLocks noGrp="1"/>
          </p:cNvSpPr>
          <p:nvPr>
            <p:ph type="pic" idx="3"/>
          </p:nvPr>
        </p:nvSpPr>
        <p:spPr>
          <a:xfrm>
            <a:off x="3640470" y="2247465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2" name="Google Shape;635;g1a3c0ec783c_4_77"/>
          <p:cNvSpPr>
            <a:spLocks noGrp="1"/>
          </p:cNvSpPr>
          <p:nvPr>
            <p:ph type="pic" idx="4"/>
          </p:nvPr>
        </p:nvSpPr>
        <p:spPr>
          <a:xfrm>
            <a:off x="6284610" y="2247465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3" name="Google Shape;636;g1a3c0ec783c_4_77"/>
          <p:cNvSpPr>
            <a:spLocks noGrp="1"/>
          </p:cNvSpPr>
          <p:nvPr>
            <p:ph type="pic" idx="5"/>
          </p:nvPr>
        </p:nvSpPr>
        <p:spPr>
          <a:xfrm>
            <a:off x="8928750" y="2247464"/>
            <a:ext cx="2272650" cy="239555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0">
  <p:cSld name="Placeholder 10">
    <p:spTree>
      <p:nvGrpSpPr>
        <p:cNvPr id="572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45" name="Google Shape;638;g1a3c0ec783c_4_82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2">
  <p:cSld name="Placeholder 12">
    <p:spTree>
      <p:nvGrpSpPr>
        <p:cNvPr id="578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59" name="Google Shape;640;g1a3c0ec783c_4_84"/>
          <p:cNvSpPr>
            <a:spLocks noGrp="1"/>
          </p:cNvSpPr>
          <p:nvPr>
            <p:ph type="pic" idx="2"/>
          </p:nvPr>
        </p:nvSpPr>
        <p:spPr>
          <a:xfrm>
            <a:off x="736600" y="1160462"/>
            <a:ext cx="4518025" cy="453707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6">
  <p:cSld name="Placeholder 06">
    <p:spTree>
      <p:nvGrpSpPr>
        <p:cNvPr id="553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0" name="Google Shape;27;p23"/>
          <p:cNvSpPr>
            <a:spLocks noGrp="1"/>
          </p:cNvSpPr>
          <p:nvPr>
            <p:ph type="pic" idx="2"/>
          </p:nvPr>
        </p:nvSpPr>
        <p:spPr>
          <a:xfrm>
            <a:off x="0" y="841374"/>
            <a:ext cx="3105583" cy="5240339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11" name="Google Shape;28;p23"/>
          <p:cNvSpPr>
            <a:spLocks noGrp="1"/>
          </p:cNvSpPr>
          <p:nvPr>
            <p:ph type="pic" idx="3"/>
          </p:nvPr>
        </p:nvSpPr>
        <p:spPr>
          <a:xfrm>
            <a:off x="3105583" y="841373"/>
            <a:ext cx="3105583" cy="5240339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3">
  <p:cSld name="Placeholder 13">
    <p:spTree>
      <p:nvGrpSpPr>
        <p:cNvPr id="562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23" name="Google Shape;642;g1a3c0ec783c_4_86"/>
          <p:cNvSpPr>
            <a:spLocks noGrp="1"/>
          </p:cNvSpPr>
          <p:nvPr>
            <p:ph type="pic" idx="2"/>
          </p:nvPr>
        </p:nvSpPr>
        <p:spPr>
          <a:xfrm>
            <a:off x="4362756" y="739378"/>
            <a:ext cx="3466488" cy="537924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24" name="Google Shape;643;g1a3c0ec783c_4_86"/>
          <p:cNvSpPr>
            <a:spLocks noGrp="1"/>
          </p:cNvSpPr>
          <p:nvPr>
            <p:ph type="pic" idx="3"/>
          </p:nvPr>
        </p:nvSpPr>
        <p:spPr>
          <a:xfrm>
            <a:off x="705156" y="3756898"/>
            <a:ext cx="3466488" cy="236172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25" name="Google Shape;644;g1a3c0ec783c_4_86"/>
          <p:cNvSpPr>
            <a:spLocks noGrp="1"/>
          </p:cNvSpPr>
          <p:nvPr>
            <p:ph type="pic" idx="4"/>
          </p:nvPr>
        </p:nvSpPr>
        <p:spPr>
          <a:xfrm>
            <a:off x="8020356" y="739378"/>
            <a:ext cx="3466488" cy="2361724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4">
  <p:cSld name="Placeholder 14">
    <p:spTree>
      <p:nvGrpSpPr>
        <p:cNvPr id="568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36" name="Google Shape;646;g1a3c0ec783c_4_90"/>
          <p:cNvSpPr>
            <a:spLocks noGrp="1"/>
          </p:cNvSpPr>
          <p:nvPr>
            <p:ph type="pic" idx="2"/>
          </p:nvPr>
        </p:nvSpPr>
        <p:spPr>
          <a:xfrm>
            <a:off x="5060633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7" name="Google Shape;647;g1a3c0ec783c_4_90"/>
          <p:cNvSpPr>
            <a:spLocks noGrp="1"/>
          </p:cNvSpPr>
          <p:nvPr>
            <p:ph type="pic" idx="3"/>
          </p:nvPr>
        </p:nvSpPr>
        <p:spPr>
          <a:xfrm>
            <a:off x="7206614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8" name="Google Shape;648;g1a3c0ec783c_4_90"/>
          <p:cNvSpPr>
            <a:spLocks noGrp="1"/>
          </p:cNvSpPr>
          <p:nvPr>
            <p:ph type="pic" idx="4"/>
          </p:nvPr>
        </p:nvSpPr>
        <p:spPr>
          <a:xfrm>
            <a:off x="9357359" y="130111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39" name="Google Shape;649;g1a3c0ec783c_4_90"/>
          <p:cNvSpPr>
            <a:spLocks noGrp="1"/>
          </p:cNvSpPr>
          <p:nvPr>
            <p:ph type="pic" idx="5"/>
          </p:nvPr>
        </p:nvSpPr>
        <p:spPr>
          <a:xfrm>
            <a:off x="5060633" y="3453765"/>
            <a:ext cx="2070735" cy="2070736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40" name="Google Shape;650;g1a3c0ec783c_4_90"/>
          <p:cNvSpPr>
            <a:spLocks noGrp="1"/>
          </p:cNvSpPr>
          <p:nvPr>
            <p:ph type="pic" idx="6"/>
          </p:nvPr>
        </p:nvSpPr>
        <p:spPr>
          <a:xfrm>
            <a:off x="7206614" y="3453765"/>
            <a:ext cx="4221482" cy="2070736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5">
  <p:cSld name="Placeholder 15">
    <p:spTree>
      <p:nvGrpSpPr>
        <p:cNvPr id="576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54" name="Google Shape;652;g1a3c0ec783c_4_96"/>
          <p:cNvSpPr>
            <a:spLocks noGrp="1"/>
          </p:cNvSpPr>
          <p:nvPr>
            <p:ph type="pic" idx="2"/>
          </p:nvPr>
        </p:nvSpPr>
        <p:spPr>
          <a:xfrm>
            <a:off x="688771" y="806330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55" name="Google Shape;653;g1a3c0ec783c_4_96"/>
          <p:cNvSpPr>
            <a:spLocks noGrp="1"/>
          </p:cNvSpPr>
          <p:nvPr>
            <p:ph type="pic" idx="3"/>
          </p:nvPr>
        </p:nvSpPr>
        <p:spPr>
          <a:xfrm>
            <a:off x="3420095" y="806330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56" name="Google Shape;654;g1a3c0ec783c_4_96"/>
          <p:cNvSpPr>
            <a:spLocks noGrp="1"/>
          </p:cNvSpPr>
          <p:nvPr>
            <p:ph type="pic" idx="4"/>
          </p:nvPr>
        </p:nvSpPr>
        <p:spPr>
          <a:xfrm>
            <a:off x="688771" y="3559614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57" name="Google Shape;655;g1a3c0ec783c_4_96"/>
          <p:cNvSpPr>
            <a:spLocks noGrp="1"/>
          </p:cNvSpPr>
          <p:nvPr>
            <p:ph type="pic" idx="5"/>
          </p:nvPr>
        </p:nvSpPr>
        <p:spPr>
          <a:xfrm>
            <a:off x="3420095" y="3559614"/>
            <a:ext cx="2576944" cy="258703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6">
  <p:cSld name="Placeholder 16">
    <p:spTree>
      <p:nvGrpSpPr>
        <p:cNvPr id="582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3" name="Google Shape;657;g1a3c0ec783c_4_101"/>
          <p:cNvSpPr>
            <a:spLocks noGrp="1"/>
          </p:cNvSpPr>
          <p:nvPr>
            <p:ph type="pic" idx="2"/>
          </p:nvPr>
        </p:nvSpPr>
        <p:spPr>
          <a:xfrm>
            <a:off x="285010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64" name="Google Shape;658;g1a3c0ec783c_4_101"/>
          <p:cNvSpPr>
            <a:spLocks noGrp="1"/>
          </p:cNvSpPr>
          <p:nvPr>
            <p:ph type="pic" idx="3"/>
          </p:nvPr>
        </p:nvSpPr>
        <p:spPr>
          <a:xfrm>
            <a:off x="2636322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65" name="Google Shape;659;g1a3c0ec783c_4_101"/>
          <p:cNvSpPr>
            <a:spLocks noGrp="1"/>
          </p:cNvSpPr>
          <p:nvPr>
            <p:ph type="pic" idx="4"/>
          </p:nvPr>
        </p:nvSpPr>
        <p:spPr>
          <a:xfrm>
            <a:off x="4987634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66" name="Google Shape;660;g1a3c0ec783c_4_101"/>
          <p:cNvSpPr>
            <a:spLocks noGrp="1"/>
          </p:cNvSpPr>
          <p:nvPr>
            <p:ph type="pic" idx="5"/>
          </p:nvPr>
        </p:nvSpPr>
        <p:spPr>
          <a:xfrm>
            <a:off x="7338946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767" name="Google Shape;661;g1a3c0ec783c_4_101"/>
          <p:cNvSpPr>
            <a:spLocks noGrp="1"/>
          </p:cNvSpPr>
          <p:nvPr>
            <p:ph type="pic" idx="6"/>
          </p:nvPr>
        </p:nvSpPr>
        <p:spPr>
          <a:xfrm>
            <a:off x="9690258" y="2242363"/>
            <a:ext cx="2202264" cy="2210884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7">
  <p:cSld name="Placeholder 17">
    <p:spTree>
      <p:nvGrpSpPr>
        <p:cNvPr id="560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20" name="Google Shape;663;g1a3c0ec783c_4_107"/>
          <p:cNvSpPr>
            <a:spLocks noGrp="1"/>
          </p:cNvSpPr>
          <p:nvPr>
            <p:ph type="pic" idx="2"/>
          </p:nvPr>
        </p:nvSpPr>
        <p:spPr>
          <a:xfrm>
            <a:off x="2362200" y="208026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721" name="Google Shape;664;g1a3c0ec783c_4_107"/>
          <p:cNvSpPr>
            <a:spLocks noGrp="1"/>
          </p:cNvSpPr>
          <p:nvPr>
            <p:ph type="pic" idx="3"/>
          </p:nvPr>
        </p:nvSpPr>
        <p:spPr>
          <a:xfrm>
            <a:off x="2362200" y="445940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8">
  <p:cSld name="Placeholder 18">
    <p:spTree>
      <p:nvGrpSpPr>
        <p:cNvPr id="563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26" name="Google Shape;666;g1a3c0ec783c_4_110"/>
          <p:cNvSpPr>
            <a:spLocks noGrp="1"/>
          </p:cNvSpPr>
          <p:nvPr>
            <p:ph type="pic" idx="2"/>
          </p:nvPr>
        </p:nvSpPr>
        <p:spPr>
          <a:xfrm>
            <a:off x="6870700" y="55371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727" name="Google Shape;667;g1a3c0ec783c_4_110"/>
          <p:cNvSpPr>
            <a:spLocks noGrp="1"/>
          </p:cNvSpPr>
          <p:nvPr>
            <p:ph type="pic" idx="3"/>
          </p:nvPr>
        </p:nvSpPr>
        <p:spPr>
          <a:xfrm>
            <a:off x="6870700" y="2932850"/>
            <a:ext cx="2959100" cy="1679790"/>
          </a:xfrm>
          <a:prstGeom prst="roundRect">
            <a:avLst>
              <a:gd name="adj" fmla="val 16667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728" name="Google Shape;668;g1a3c0ec783c_4_110"/>
          <p:cNvSpPr>
            <a:spLocks noGrp="1"/>
          </p:cNvSpPr>
          <p:nvPr>
            <p:ph type="pic" idx="4"/>
          </p:nvPr>
        </p:nvSpPr>
        <p:spPr>
          <a:xfrm>
            <a:off x="0" y="5168900"/>
            <a:ext cx="12192000" cy="16891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19">
  <p:cSld name="Placeholder 19">
    <p:spTree>
      <p:nvGrpSpPr>
        <p:cNvPr id="570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42" name="Google Shape;670;g1a3c0ec783c_4_114"/>
          <p:cNvSpPr>
            <a:spLocks noGrp="1"/>
          </p:cNvSpPr>
          <p:nvPr>
            <p:ph type="pic" idx="2"/>
          </p:nvPr>
        </p:nvSpPr>
        <p:spPr>
          <a:xfrm>
            <a:off x="1396790" y="2143932"/>
            <a:ext cx="1712537" cy="346956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  <p:sp>
        <p:nvSpPr>
          <p:cNvPr id="1050743" name="Google Shape;671;g1a3c0ec783c_4_114"/>
          <p:cNvSpPr>
            <a:spLocks noGrp="1"/>
          </p:cNvSpPr>
          <p:nvPr>
            <p:ph type="pic" idx="3"/>
          </p:nvPr>
        </p:nvSpPr>
        <p:spPr>
          <a:xfrm>
            <a:off x="2605692" y="1243661"/>
            <a:ext cx="2151709" cy="436983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0">
  <p:cSld name="Placeholder 20">
    <p:spTree>
      <p:nvGrpSpPr>
        <p:cNvPr id="580" name="Shape 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1" name="Google Shape;673;g1a3c0ec783c_4_117"/>
          <p:cNvSpPr>
            <a:spLocks noGrp="1"/>
          </p:cNvSpPr>
          <p:nvPr>
            <p:ph type="pic" idx="2"/>
          </p:nvPr>
        </p:nvSpPr>
        <p:spPr>
          <a:xfrm>
            <a:off x="5313380" y="1695735"/>
            <a:ext cx="5721396" cy="3717705"/>
          </a:xfrm>
          <a:prstGeom prst="roundRect">
            <a:avLst>
              <a:gd name="adj" fmla="val 1861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1">
  <p:cSld name="Placeholder 21">
    <p:spTree>
      <p:nvGrpSpPr>
        <p:cNvPr id="558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8" name="Google Shape;675;g1a3c0ec783c_4_119"/>
          <p:cNvSpPr>
            <a:spLocks noGrp="1"/>
          </p:cNvSpPr>
          <p:nvPr>
            <p:ph type="pic" idx="2"/>
          </p:nvPr>
        </p:nvSpPr>
        <p:spPr>
          <a:xfrm>
            <a:off x="4229100" y="2314575"/>
            <a:ext cx="3724275" cy="211455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2">
  <p:cSld name="Placeholder 22">
    <p:spTree>
      <p:nvGrpSpPr>
        <p:cNvPr id="555" name="Shape 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3" name="Google Shape;677;g1a3c0ec783c_4_121"/>
          <p:cNvSpPr>
            <a:spLocks noGrp="1"/>
          </p:cNvSpPr>
          <p:nvPr>
            <p:ph type="pic" idx="2"/>
          </p:nvPr>
        </p:nvSpPr>
        <p:spPr>
          <a:xfrm>
            <a:off x="8257120" y="944118"/>
            <a:ext cx="2446640" cy="4969764"/>
          </a:xfrm>
          <a:prstGeom prst="roundRect">
            <a:avLst>
              <a:gd name="adj" fmla="val 5600"/>
            </a:avLst>
          </a:prstGeom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07">
  <p:cSld name="Placeholder 07">
    <p:spTree>
      <p:nvGrpSpPr>
        <p:cNvPr id="52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10" name="Google Shape;30;p24"/>
          <p:cNvSpPr>
            <a:spLocks noGrp="1"/>
          </p:cNvSpPr>
          <p:nvPr>
            <p:ph type="pic" idx="2"/>
          </p:nvPr>
        </p:nvSpPr>
        <p:spPr>
          <a:xfrm>
            <a:off x="0" y="0"/>
            <a:ext cx="4762500" cy="6858000"/>
          </a:xfrm>
          <a:prstGeom prst="rect"/>
          <a:solidFill>
            <a:srgbClr val="AEABAB"/>
          </a:solidFill>
          <a:ln>
            <a:noFill/>
          </a:ln>
        </p:spPr>
      </p:sp>
      <p:sp>
        <p:nvSpPr>
          <p:cNvPr id="1050611" name="Google Shape;31;p24"/>
          <p:cNvSpPr>
            <a:spLocks noGrp="1"/>
          </p:cNvSpPr>
          <p:nvPr>
            <p:ph type="pic" idx="3"/>
          </p:nvPr>
        </p:nvSpPr>
        <p:spPr>
          <a:xfrm>
            <a:off x="3813709" y="3783330"/>
            <a:ext cx="1897582" cy="1908810"/>
          </a:xfrm>
          <a:prstGeom prst="ellipse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3">
  <p:cSld name="Placeholder 23">
    <p:spTree>
      <p:nvGrpSpPr>
        <p:cNvPr id="566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34" name="Google Shape;679;g1a3c0ec783c_4_123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4">
  <p:cSld name="Placeholder 24">
    <p:spTree>
      <p:nvGrpSpPr>
        <p:cNvPr id="579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0" name="Google Shape;681;g1a3c0ec783c_4_125"/>
          <p:cNvSpPr>
            <a:spLocks noGrp="1"/>
          </p:cNvSpPr>
          <p:nvPr>
            <p:ph type="pic" idx="2"/>
          </p:nvPr>
        </p:nvSpPr>
        <p:spPr>
          <a:xfrm>
            <a:off x="7004685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5">
  <p:cSld name="Placeholder 25">
    <p:spTree>
      <p:nvGrpSpPr>
        <p:cNvPr id="554" name="Shape 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12" name="Google Shape;683;g1a3c0ec783c_4_127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6">
  <p:cSld name="Placeholder 26">
    <p:spTree>
      <p:nvGrpSpPr>
        <p:cNvPr id="56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22" name="Google Shape;685;g1a3c0ec783c_4_129"/>
          <p:cNvSpPr>
            <a:spLocks noGrp="1"/>
          </p:cNvSpPr>
          <p:nvPr>
            <p:ph type="pic" idx="2"/>
          </p:nvPr>
        </p:nvSpPr>
        <p:spPr>
          <a:xfrm>
            <a:off x="7004685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7">
  <p:cSld name="Placeholder 27">
    <p:spTree>
      <p:nvGrpSpPr>
        <p:cNvPr id="567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35" name="Google Shape;687;g1a3c0ec783c_4_131"/>
          <p:cNvSpPr>
            <a:spLocks noGrp="1"/>
          </p:cNvSpPr>
          <p:nvPr>
            <p:ph type="pic" idx="2"/>
          </p:nvPr>
        </p:nvSpPr>
        <p:spPr>
          <a:xfrm>
            <a:off x="0" y="0"/>
            <a:ext cx="5187315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28">
  <p:cSld name="Placeholder 28">
    <p:spTree>
      <p:nvGrpSpPr>
        <p:cNvPr id="577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58" name="Google Shape;689;g1a3c0ec783c_4_133"/>
          <p:cNvSpPr>
            <a:spLocks noGrp="1"/>
          </p:cNvSpPr>
          <p:nvPr>
            <p:ph type="pic" idx="2"/>
          </p:nvPr>
        </p:nvSpPr>
        <p:spPr>
          <a:xfrm>
            <a:off x="7556500" y="0"/>
            <a:ext cx="4635500" cy="6858000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ceholder 30">
  <p:cSld name="Placeholder 30">
    <p:spTree>
      <p:nvGrpSpPr>
        <p:cNvPr id="584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769" name="Google Shape;691;g1a3c0ec783c_4_135"/>
          <p:cNvSpPr>
            <a:spLocks noGrp="1"/>
          </p:cNvSpPr>
          <p:nvPr>
            <p:ph type="pic" idx="2"/>
          </p:nvPr>
        </p:nvSpPr>
        <p:spPr>
          <a:xfrm>
            <a:off x="2689860" y="1217295"/>
            <a:ext cx="6812280" cy="2554605"/>
          </a:xfrm>
          <a:prstGeom prst="rect"/>
          <a:solidFill>
            <a:srgbClr val="AEABAB"/>
          </a:solidFill>
          <a:ln>
            <a:noFill/>
          </a:ln>
        </p:spPr>
      </p:sp>
    </p:spTree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7.xml"/><Relationship Id="rId6" Type="http://schemas.openxmlformats.org/officeDocument/2006/relationships/slideLayout" Target="../slideLayouts/slideLayout48.xml"/><Relationship Id="rId7" Type="http://schemas.openxmlformats.org/officeDocument/2006/relationships/slideLayout" Target="../slideLayouts/slideLayout49.xml"/><Relationship Id="rId8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59.xml"/><Relationship Id="rId18" Type="http://schemas.openxmlformats.org/officeDocument/2006/relationships/theme" Target="../theme/theme2.xml"/></Relationships>
</file>

<file path=ppt/slideMasters/_rels/slideMaster3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60.xml"/><Relationship Id="rId2" Type="http://schemas.openxmlformats.org/officeDocument/2006/relationships/slideLayout" Target="../slideLayouts/slideLayout61.xml"/><Relationship Id="rId3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3.xml"/><Relationship Id="rId5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6.xml"/><Relationship Id="rId8" Type="http://schemas.openxmlformats.org/officeDocument/2006/relationships/slideLayout" Target="../slideLayouts/slideLayout67.xml"/><Relationship Id="rId9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96.xml"/><Relationship Id="rId38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14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Google Shape;10;p15"/>
          <p:cNvSpPr txBox="1">
            <a:spLocks noGrp="1"/>
          </p:cNvSpPr>
          <p:nvPr>
            <p:ph type="sldNum" idx="12"/>
          </p:nvPr>
        </p:nvSpPr>
        <p:spPr>
          <a:xfrm>
            <a:off x="190500" y="2863850"/>
            <a:ext cx="4064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r" indent="0" lvl="1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r" indent="0" lvl="2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r" indent="0" lvl="3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r" indent="0" lvl="4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r" indent="0" lvl="5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r" indent="0" lvl="6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r" indent="0" lvl="7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r" indent="0" lvl="8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</a:p>
        </p:txBody>
      </p:sp>
    </p:spTree>
  </p:cSld>
  <p:clrMap accent1="accent1" accent2="accent2" accent3="accent3" accent4="accent4" accent5="accent5" accent6="accent6" bg1="lt1" bg2="dk2" tx1="dk1" tx2="lt2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</p:sldLayoutIdLst>
  <p:hf dt="0" ftr="0" hdr="0" sldNum="1"/>
  <p:txStyles>
    <p:title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</p:bgPr>
    </p:bg>
    <p:spTree>
      <p:nvGrpSpPr>
        <p:cNvPr id="198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1" name="Google Shape;190;g191abe3b490_12_437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  <a:defRPr b="0" cap="none" sz="3700" i="0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defRPr>
            </a:lvl9pPr>
          </a:lstStyle>
          <a:p/>
        </p:txBody>
      </p:sp>
      <p:sp>
        <p:nvSpPr>
          <p:cNvPr id="1048812" name="Google Shape;191;g191abe3b490_12_437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700" cy="4555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lstStyle>
            <a:lvl1pPr algn="l" indent="-381000" lvl="0" marL="4572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Raleway"/>
              <a:buChar char="●"/>
              <a:defRPr b="0" cap="none" sz="24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algn="l" indent="-349250" lvl="1" marL="9144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○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algn="l" indent="-349250" lvl="2" marL="13716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■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algn="l" indent="-349250" lvl="3" marL="18288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●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algn="l" indent="-349250" lvl="4" marL="22860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○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algn="l" indent="-349250" lvl="5" marL="27432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■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algn="l" indent="-349250" lvl="6" marL="32004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●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algn="l" indent="-349250" lvl="7" marL="36576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○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algn="l" indent="-349250" lvl="8" marL="41148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Raleway"/>
              <a:buChar char="■"/>
              <a:defRPr b="0" cap="none" sz="1900" i="0" strike="noStrike" u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</p:sldLayoutIdLst>
  <p:hf dt="0" ftr="0" hdr="0" sldNum="1"/>
  <p:txStyles>
    <p:title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11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6" name="Google Shape;556;g1a3c0ec783c_4_0"/>
          <p:cNvSpPr txBox="1">
            <a:spLocks noGrp="1"/>
          </p:cNvSpPr>
          <p:nvPr>
            <p:ph type="sldNum" idx="12"/>
          </p:nvPr>
        </p:nvSpPr>
        <p:spPr>
          <a:xfrm>
            <a:off x="190500" y="2863850"/>
            <a:ext cx="4064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algn="r" indent="0" lvl="1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r" indent="0" lvl="2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r" indent="0" lvl="3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r" indent="0" lvl="4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r" indent="0" lvl="5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r" indent="0" lvl="6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r" indent="0" lvl="7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r" indent="0" lvl="8" marL="0" marR="0" rtl="0">
              <a:spcBef>
                <a:spcPts val="0"/>
              </a:spcBef>
              <a:buNone/>
              <a:defRPr b="0" cap="none" sz="1200" i="0" strike="noStrike" u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</a:p>
        </p:txBody>
      </p:sp>
    </p:spTree>
  </p:cSld>
  <p:clrMap accent1="accent1" accent2="accent2" accent3="accent3" accent4="accent4" accent5="accent5" accent6="accent6" bg1="lt1" bg2="dk2" tx1="dk1" tx2="lt2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  <p:sldLayoutId id="2147483726" r:id="rId34"/>
    <p:sldLayoutId id="2147483727" r:id="rId35"/>
    <p:sldLayoutId id="2147483728" r:id="rId36"/>
    <p:sldLayoutId id="2147483729" r:id="rId37"/>
  </p:sldLayoutIdLst>
  <p:hf dt="0" ftr="0" hdr="0" sldNum="1"/>
  <p:txStyles>
    <p:title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
<Relationships xmlns="http://schemas.openxmlformats.org/package/2006/relationships"><Relationship Id="rId1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/Relationships>
</file>

<file path=ppt/slides/_rels/slide10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
<Relationships xmlns="http://schemas.openxmlformats.org/package/2006/relationships"><Relationship Id="rId1" Type="http://schemas.openxmlformats.org/officeDocument/2006/relationships/image" Target="../media/image15.png"/><Relationship Id="rId2" Type="http://schemas.openxmlformats.org/officeDocument/2006/relationships/hyperlink" Target="https://www.kaggle.com/ankitverma2010/ecommerce-customer-churn-analysis-and-prediction" TargetMode="External"/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6" Type="http://schemas.openxmlformats.org/officeDocument/2006/relationships/slideLayout" Target="../slideLayouts/slideLayout61.xml"/><Relationship Id="rId7" Type="http://schemas.openxmlformats.org/officeDocument/2006/relationships/notesSlide" Target="../notesSlides/notesSlide11.xml"/></Relationships>
</file>

<file path=ppt/slides/_rels/slide12.xml.rels><?xml version="1.0" encoding="UTF-8" standalone="yes"?>
<Relationships xmlns="http://schemas.openxmlformats.org/package/2006/relationships"><Relationship Id="rId1" Type="http://schemas.openxmlformats.org/officeDocument/2006/relationships/image" Target="../media/image19.png"/><Relationship Id="rId2" Type="http://schemas.openxmlformats.org/officeDocument/2006/relationships/slideLayout" Target="../slideLayouts/slideLayout66.xml"/><Relationship Id="rId3" Type="http://schemas.openxmlformats.org/officeDocument/2006/relationships/notesSlide" Target="../notesSlides/notesSlide12.xml"/></Relationships>
</file>

<file path=ppt/slides/_rels/slide13.xml.rels><?xml version="1.0" encoding="UTF-8" standalone="yes"?>
<Relationships xmlns="http://schemas.openxmlformats.org/package/2006/relationships"><Relationship Id="rId1" Type="http://schemas.openxmlformats.org/officeDocument/2006/relationships/image" Target="../media/image20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3.xml"/></Relationships>
</file>

<file path=ppt/slides/_rels/slide14.xml.rels><?xml version="1.0" encoding="UTF-8" standalone="yes"?>
<Relationships xmlns="http://schemas.openxmlformats.org/package/2006/relationships"><Relationship Id="rId1" Type="http://schemas.openxmlformats.org/officeDocument/2006/relationships/image" Target="../media/image21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4.xml"/></Relationships>
</file>

<file path=ppt/slides/_rels/slide15.xml.rels><?xml version="1.0" encoding="UTF-8" standalone="yes"?>
<Relationships xmlns="http://schemas.openxmlformats.org/package/2006/relationships"><Relationship Id="rId1" Type="http://schemas.openxmlformats.org/officeDocument/2006/relationships/image" Target="../media/image22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5.xml"/></Relationships>
</file>

<file path=ppt/slides/_rels/slide16.xml.rels><?xml version="1.0" encoding="UTF-8" standalone="yes"?>
<Relationships xmlns="http://schemas.openxmlformats.org/package/2006/relationships"><Relationship Id="rId1" Type="http://schemas.openxmlformats.org/officeDocument/2006/relationships/image" Target="../media/image23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6.xml"/></Relationships>
</file>

<file path=ppt/slides/_rels/slide17.xml.rels><?xml version="1.0" encoding="UTF-8" standalone="yes"?>
<Relationships xmlns="http://schemas.openxmlformats.org/package/2006/relationships"><Relationship Id="rId1" Type="http://schemas.openxmlformats.org/officeDocument/2006/relationships/image" Target="../media/image24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7.xml"/></Relationships>
</file>

<file path=ppt/slides/_rels/slide18.xml.rels><?xml version="1.0" encoding="UTF-8" standalone="yes"?>
<Relationships xmlns="http://schemas.openxmlformats.org/package/2006/relationships"><Relationship Id="rId1" Type="http://schemas.openxmlformats.org/officeDocument/2006/relationships/image" Target="../media/image25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8.xml"/></Relationships>
</file>

<file path=ppt/slides/_rels/slide19.xml.rels><?xml version="1.0" encoding="UTF-8" standalone="yes"?>
<Relationships xmlns="http://schemas.openxmlformats.org/package/2006/relationships"><Relationship Id="rId1" Type="http://schemas.openxmlformats.org/officeDocument/2006/relationships/image" Target="../media/image26.jpeg"/><Relationship Id="rId2" Type="http://schemas.openxmlformats.org/officeDocument/2006/relationships/slideLayout" Target="../slideLayouts/slideLayout67.xml"/><Relationship Id="rId3" Type="http://schemas.openxmlformats.org/officeDocument/2006/relationships/notesSlide" Target="../notesSlides/notesSlide19.xml"/></Relationships>
</file>

<file path=ppt/slides/_rels/slide2.xml.rels><?xml version="1.0" encoding="UTF-8" standalone="yes"?>
<Relationships xmlns="http://schemas.openxmlformats.org/package/2006/relationships"><Relationship Id="rId1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2.xml"/></Relationships>
</file>

<file path=ppt/slides/_rels/slide20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68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
<Relationships xmlns="http://schemas.openxmlformats.org/package/2006/relationships"><Relationship Id="rId1" Type="http://schemas.openxmlformats.org/officeDocument/2006/relationships/image" Target="../media/image27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23.xml"/></Relationships>
</file>

<file path=ppt/slides/_rels/slide24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
<Relationships xmlns="http://schemas.openxmlformats.org/package/2006/relationships"><Relationship Id="rId1" Type="http://schemas.openxmlformats.org/officeDocument/2006/relationships/image" Target="../media/image28.png"/><Relationship Id="rId2" Type="http://schemas.openxmlformats.org/officeDocument/2006/relationships/slideLayout" Target="../slideLayouts/slideLayout10.xml"/><Relationship Id="rId3" Type="http://schemas.openxmlformats.org/officeDocument/2006/relationships/notesSlide" Target="../notesSlides/notesSlide25.xml"/></Relationships>
</file>

<file path=ppt/slides/_rels/slide26.xml.rels><?xml version="1.0" encoding="UTF-8" standalone="yes"?>
<Relationships xmlns="http://schemas.openxmlformats.org/package/2006/relationships"><Relationship Id="rId1" Type="http://schemas.openxmlformats.org/officeDocument/2006/relationships/image" Target="../media/image29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26.xml"/></Relationships>
</file>

<file path=ppt/slides/_rels/slide27.xml.rels><?xml version="1.0" encoding="UTF-8" standalone="yes"?>
<Relationships xmlns="http://schemas.openxmlformats.org/package/2006/relationships"><Relationship Id="rId1" Type="http://schemas.openxmlformats.org/officeDocument/2006/relationships/image" Target="../media/image30.png"/><Relationship Id="rId2" Type="http://schemas.openxmlformats.org/officeDocument/2006/relationships/image" Target="../media/image31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28.xml"/></Relationships>
</file>

<file path=ppt/slides/_rels/slide29.xml.rels><?xml version="1.0" encoding="UTF-8" standalone="yes"?>
<Relationships xmlns="http://schemas.openxmlformats.org/package/2006/relationships"><Relationship Id="rId1" Type="http://schemas.openxmlformats.org/officeDocument/2006/relationships/image" Target="../media/image32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29.xml"/></Relationships>
</file>

<file path=ppt/slides/_rels/slide3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62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
<Relationships xmlns="http://schemas.openxmlformats.org/package/2006/relationships"><Relationship Id="rId1" Type="http://schemas.openxmlformats.org/officeDocument/2006/relationships/image" Target="../media/image33.png"/><Relationship Id="rId2" Type="http://schemas.openxmlformats.org/officeDocument/2006/relationships/image" Target="../media/image34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
<Relationships xmlns="http://schemas.openxmlformats.org/package/2006/relationships"><Relationship Id="rId1" Type="http://schemas.openxmlformats.org/officeDocument/2006/relationships/image" Target="../media/image35.png"/><Relationship Id="rId2" Type="http://schemas.openxmlformats.org/officeDocument/2006/relationships/image" Target="../media/image31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
<Relationships xmlns="http://schemas.openxmlformats.org/package/2006/relationships"><Relationship Id="rId1" Type="http://schemas.openxmlformats.org/officeDocument/2006/relationships/image" Target="../media/image36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32.xml"/></Relationships>
</file>

<file path=ppt/slides/_rels/slide33.xml.rels><?xml version="1.0" encoding="UTF-8" standalone="yes"?>
<Relationships xmlns="http://schemas.openxmlformats.org/package/2006/relationships"><Relationship Id="rId1" Type="http://schemas.openxmlformats.org/officeDocument/2006/relationships/image" Target="../media/image37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33.xml"/></Relationships>
</file>

<file path=ppt/slides/_rels/slide34.xml.rels><?xml version="1.0" encoding="UTF-8" standalone="yes"?>
<Relationships xmlns="http://schemas.openxmlformats.org/package/2006/relationships"><Relationship Id="rId1" Type="http://schemas.openxmlformats.org/officeDocument/2006/relationships/image" Target="../media/image38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34.xml"/></Relationships>
</file>

<file path=ppt/slides/_rels/slide35.xml.rels><?xml version="1.0" encoding="UTF-8" standalone="yes"?>
<Relationships xmlns="http://schemas.openxmlformats.org/package/2006/relationships"><Relationship Id="rId1" Type="http://schemas.openxmlformats.org/officeDocument/2006/relationships/image" Target="../media/image39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35.xml"/></Relationships>
</file>

<file path=ppt/slides/_rels/slide36.xml.rels><?xml version="1.0" encoding="UTF-8" standalone="yes"?>
<Relationships xmlns="http://schemas.openxmlformats.org/package/2006/relationships"><Relationship Id="rId1" Type="http://schemas.openxmlformats.org/officeDocument/2006/relationships/image" Target="../media/image40.jpeg"/><Relationship Id="rId2" Type="http://schemas.openxmlformats.org/officeDocument/2006/relationships/image" Target="../media/image41.jpeg"/><Relationship Id="rId3" Type="http://schemas.openxmlformats.org/officeDocument/2006/relationships/image" Target="../media/image42.jpeg"/><Relationship Id="rId4" Type="http://schemas.openxmlformats.org/officeDocument/2006/relationships/image" Target="../media/image43.jpeg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36.xml"/></Relationships>
</file>

<file path=ppt/slides/_rels/slide37.xml.rels><?xml version="1.0" encoding="UTF-8" standalone="yes"?>
<Relationships xmlns="http://schemas.openxmlformats.org/package/2006/relationships"><Relationship Id="rId1" Type="http://schemas.openxmlformats.org/officeDocument/2006/relationships/image" Target="../media/image44.png"/><Relationship Id="rId2" Type="http://schemas.openxmlformats.org/officeDocument/2006/relationships/hyperlink" Target="https://lifelines.readthedocs.io/en/latest/fitters/regression/CoxPHFitter.html%23lifelines.fitters.coxph_fitter.SemiParametricPHFitter.predict_survival_function" TargetMode="External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38.xml"/></Relationships>
</file>

<file path=ppt/slides/_rels/slide39.xml.rels><?xml version="1.0" encoding="UTF-8" standalone="yes"?>
<Relationships xmlns="http://schemas.openxmlformats.org/package/2006/relationships"><Relationship Id="rId1" Type="http://schemas.openxmlformats.org/officeDocument/2006/relationships/image" Target="../media/image45.png"/><Relationship Id="rId2" Type="http://schemas.openxmlformats.org/officeDocument/2006/relationships/image" Target="../media/image46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
<Relationships xmlns="http://schemas.openxmlformats.org/package/2006/relationships"><Relationship Id="rId1" Type="http://schemas.openxmlformats.org/officeDocument/2006/relationships/image" Target="../media/image3.png"/><Relationship Id="rId2" Type="http://schemas.openxmlformats.org/officeDocument/2006/relationships/image" Target="../media/image4.png"/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slideLayout" Target="../slideLayouts/slideLayout63.xml"/><Relationship Id="rId7" Type="http://schemas.openxmlformats.org/officeDocument/2006/relationships/notesSlide" Target="../notesSlides/notesSlide4.xml"/></Relationships>
</file>

<file path=ppt/slides/_rels/slide40.xml.rels><?xml version="1.0" encoding="UTF-8" standalone="yes"?>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image" Target="../media/image48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
<Relationships xmlns="http://schemas.openxmlformats.org/package/2006/relationships"><Relationship Id="rId1" Type="http://schemas.openxmlformats.org/officeDocument/2006/relationships/image" Target="../media/image49.png"/><Relationship Id="rId2" Type="http://schemas.openxmlformats.org/officeDocument/2006/relationships/image" Target="../media/image50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
<Relationships xmlns="http://schemas.openxmlformats.org/package/2006/relationships"><Relationship Id="rId1" Type="http://schemas.openxmlformats.org/officeDocument/2006/relationships/image" Target="../media/image51.png"/><Relationship Id="rId2" Type="http://schemas.openxmlformats.org/officeDocument/2006/relationships/image" Target="../media/image52.png"/><Relationship Id="rId3" Type="http://schemas.openxmlformats.org/officeDocument/2006/relationships/image" Target="../media/image53.png"/><Relationship Id="rId4" Type="http://schemas.openxmlformats.org/officeDocument/2006/relationships/slideLayout" Target="../slideLayouts/slideLayout31.xml"/><Relationship Id="rId5" Type="http://schemas.openxmlformats.org/officeDocument/2006/relationships/notesSlide" Target="../notesSlides/notesSlide42.xml"/></Relationships>
</file>

<file path=ppt/slides/_rels/slide43.xml.rels><?xml version="1.0" encoding="UTF-8" standalone="yes"?>
<Relationships xmlns="http://schemas.openxmlformats.org/package/2006/relationships"><Relationship Id="rId1" Type="http://schemas.openxmlformats.org/officeDocument/2006/relationships/image" Target="../media/image54.png"/><Relationship Id="rId2" Type="http://schemas.openxmlformats.org/officeDocument/2006/relationships/image" Target="../media/image55.png"/><Relationship Id="rId3" Type="http://schemas.openxmlformats.org/officeDocument/2006/relationships/slideLayout" Target="../slideLayouts/slideLayout31.xml"/><Relationship Id="rId4" Type="http://schemas.openxmlformats.org/officeDocument/2006/relationships/notesSlide" Target="../notesSlides/notesSlide43.xml"/></Relationships>
</file>

<file path=ppt/slides/_rels/slide44.xml.rels><?xml version="1.0" encoding="UTF-8" standalone="yes"?>
<Relationships xmlns="http://schemas.openxmlformats.org/package/2006/relationships"><Relationship Id="rId1" Type="http://schemas.openxmlformats.org/officeDocument/2006/relationships/image" Target="../media/image56.png"/><Relationship Id="rId2" Type="http://schemas.openxmlformats.org/officeDocument/2006/relationships/image" Target="../media/image57.png"/><Relationship Id="rId3" Type="http://schemas.openxmlformats.org/officeDocument/2006/relationships/image" Target="../media/image53.png"/><Relationship Id="rId4" Type="http://schemas.openxmlformats.org/officeDocument/2006/relationships/slideLayout" Target="../slideLayouts/slideLayout31.xml"/><Relationship Id="rId5" Type="http://schemas.openxmlformats.org/officeDocument/2006/relationships/notesSlide" Target="../notesSlides/notesSlide44.xml"/></Relationships>
</file>

<file path=ppt/slides/_rels/slide45.xml.rels><?xml version="1.0" encoding="UTF-8" standalone="yes"?>
<Relationships xmlns="http://schemas.openxmlformats.org/package/2006/relationships"><Relationship Id="rId1" Type="http://schemas.openxmlformats.org/officeDocument/2006/relationships/image" Target="../media/image58.png"/><Relationship Id="rId2" Type="http://schemas.openxmlformats.org/officeDocument/2006/relationships/image" Target="../media/image59.png"/><Relationship Id="rId3" Type="http://schemas.openxmlformats.org/officeDocument/2006/relationships/image" Target="../media/image55.png"/><Relationship Id="rId4" Type="http://schemas.openxmlformats.org/officeDocument/2006/relationships/slideLayout" Target="../slideLayouts/slideLayout31.xml"/><Relationship Id="rId5" Type="http://schemas.openxmlformats.org/officeDocument/2006/relationships/notesSlide" Target="../notesSlides/notesSlide45.xml"/></Relationships>
</file>

<file path=ppt/slides/_rels/slide46.xml.rels><?xml version="1.0" encoding="UTF-8" standalone="yes"?>
<Relationships xmlns="http://schemas.openxmlformats.org/package/2006/relationships"><Relationship Id="rId1" Type="http://schemas.openxmlformats.org/officeDocument/2006/relationships/image" Target="../media/image60.png"/><Relationship Id="rId2" Type="http://schemas.openxmlformats.org/officeDocument/2006/relationships/image" Target="../media/image61.png"/><Relationship Id="rId3" Type="http://schemas.openxmlformats.org/officeDocument/2006/relationships/image" Target="../media/image62.png"/><Relationship Id="rId4" Type="http://schemas.openxmlformats.org/officeDocument/2006/relationships/slideLayout" Target="../slideLayouts/slideLayout31.xml"/><Relationship Id="rId5" Type="http://schemas.openxmlformats.org/officeDocument/2006/relationships/notesSlide" Target="../notesSlides/notesSlide46.xml"/></Relationships>
</file>

<file path=ppt/slides/_rels/slide47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64.xml"/><Relationship Id="rId2" Type="http://schemas.openxmlformats.org/officeDocument/2006/relationships/notesSlide" Target="../notesSlides/notesSlide47.xml"/></Relationships>
</file>

<file path=ppt/slides/_rels/slide48.xml.rels><?xml version="1.0" encoding="UTF-8" standalone="yes"?>
<Relationships xmlns="http://schemas.openxmlformats.org/package/2006/relationships"><Relationship Id="rId1" Type="http://schemas.openxmlformats.org/officeDocument/2006/relationships/image" Target="../media/image63.png"/><Relationship Id="rId2" Type="http://schemas.openxmlformats.org/officeDocument/2006/relationships/image" Target="../media/image64.png"/><Relationship Id="rId3" Type="http://schemas.openxmlformats.org/officeDocument/2006/relationships/image" Target="../media/image65.png"/><Relationship Id="rId4" Type="http://schemas.openxmlformats.org/officeDocument/2006/relationships/image" Target="../media/image66.png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48.xml"/></Relationships>
</file>

<file path=ppt/slides/_rels/slide49.xml.rels><?xml version="1.0" encoding="UTF-8" standalone="yes"?>
<Relationships xmlns="http://schemas.openxmlformats.org/package/2006/relationships"><Relationship Id="rId1" Type="http://schemas.openxmlformats.org/officeDocument/2006/relationships/image" Target="../media/image67.png"/><Relationship Id="rId2" Type="http://schemas.openxmlformats.org/officeDocument/2006/relationships/image" Target="../media/image68.png"/><Relationship Id="rId3" Type="http://schemas.openxmlformats.org/officeDocument/2006/relationships/image" Target="../media/image69.png"/><Relationship Id="rId4" Type="http://schemas.openxmlformats.org/officeDocument/2006/relationships/slideLayout" Target="../slideLayouts/slideLayout31.xml"/><Relationship Id="rId5" Type="http://schemas.openxmlformats.org/officeDocument/2006/relationships/notesSlide" Target="../notesSlides/notesSlide49.xml"/></Relationships>
</file>

<file path=ppt/slides/_rels/slide5.xml.rels><?xml version="1.0" encoding="UTF-8" standalone="yes"?>
<Relationships xmlns="http://schemas.openxmlformats.org/package/2006/relationships"><Relationship Id="rId1" Type="http://schemas.openxmlformats.org/officeDocument/2006/relationships/image" Target="../media/image8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5.xml"/></Relationships>
</file>

<file path=ppt/slides/_rels/slide50.xml.rels><?xml version="1.0" encoding="UTF-8" standalone="yes"?>
<Relationships xmlns="http://schemas.openxmlformats.org/package/2006/relationships"><Relationship Id="rId1" Type="http://schemas.openxmlformats.org/officeDocument/2006/relationships/image" Target="../media/image70.jpeg"/><Relationship Id="rId2" Type="http://schemas.openxmlformats.org/officeDocument/2006/relationships/image" Target="../media/image71.jpeg"/><Relationship Id="rId3" Type="http://schemas.openxmlformats.org/officeDocument/2006/relationships/image" Target="../media/image72.jpeg"/><Relationship Id="rId4" Type="http://schemas.openxmlformats.org/officeDocument/2006/relationships/image" Target="../media/image73.jpeg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50.xml"/></Relationships>
</file>

<file path=ppt/slides/_rels/slide51.xml.rels><?xml version="1.0" encoding="UTF-8" standalone="yes"?>
<Relationships xmlns="http://schemas.openxmlformats.org/package/2006/relationships"><Relationship Id="rId1" Type="http://schemas.openxmlformats.org/officeDocument/2006/relationships/image" Target="../media/image74.png"/><Relationship Id="rId2" Type="http://schemas.openxmlformats.org/officeDocument/2006/relationships/image" Target="../media/image75.png"/><Relationship Id="rId3" Type="http://schemas.openxmlformats.org/officeDocument/2006/relationships/image" Target="../media/image76.png"/><Relationship Id="rId4" Type="http://schemas.openxmlformats.org/officeDocument/2006/relationships/image" Target="../media/image77.png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51.xml"/></Relationships>
</file>

<file path=ppt/slides/_rels/slide52.xml.rels><?xml version="1.0" encoding="UTF-8" standalone="yes"?>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oleObject" Target="../embeddings/oleObject0.bin"/><Relationship Id="rId3" Type="http://schemas.openxmlformats.org/officeDocument/2006/relationships/image" Target="../media/image78.emf"/><Relationship Id="rId4" Type="http://schemas.openxmlformats.org/officeDocument/2006/relationships/tags" Target="../tags/tag2.xml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52.xml"/></Relationships>
</file>

<file path=ppt/slides/_rels/slide53.xml.rels><?xml version="1.0" encoding="UTF-8" standalone="yes"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78.emf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31.xml"/><Relationship Id="rId6" Type="http://schemas.openxmlformats.org/officeDocument/2006/relationships/notesSlide" Target="../notesSlides/notesSlide53.xml"/></Relationships>
</file>

<file path=ppt/slides/_rels/slide54.xml.rels><?xml version="1.0" encoding="UTF-8" standalone="yes"?>
<Relationships xmlns="http://schemas.openxmlformats.org/package/2006/relationships"><Relationship Id="rId1" Type="http://schemas.openxmlformats.org/officeDocument/2006/relationships/image" Target="../media/image79.png"/><Relationship Id="rId2" Type="http://schemas.openxmlformats.org/officeDocument/2006/relationships/slideLayout" Target="../slideLayouts/slideLayout31.xml"/></Relationships>
</file>

<file path=ppt/slides/_rels/slide55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54.xml"/></Relationships>
</file>

<file path=ppt/slides/_rels/slide56.xml.rels><?xml version="1.0" encoding="UTF-8" standalone="yes"?>
<Relationships xmlns="http://schemas.openxmlformats.org/package/2006/relationships"><Relationship Id="rId1" Type="http://schemas.openxmlformats.org/officeDocument/2006/relationships/image" Target="../media/image80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55.xml"/></Relationships>
</file>

<file path=ppt/slides/_rels/slide6.xml.rels><?xml version="1.0" encoding="UTF-8" standalone="yes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6.xml"/></Relationships>
</file>

<file path=ppt/slides/_rels/slide7.xml.rels><?xml version="1.0" encoding="UTF-8" standalone="yes"?>
<Relationships xmlns="http://schemas.openxmlformats.org/package/2006/relationships"><Relationship Id="rId1" Type="http://schemas.openxmlformats.org/officeDocument/2006/relationships/image" Target="../media/image10.png"/><Relationship Id="rId2" Type="http://schemas.openxmlformats.org/officeDocument/2006/relationships/slideLayout" Target="../slideLayouts/slideLayout31.xml"/><Relationship Id="rId3" Type="http://schemas.openxmlformats.org/officeDocument/2006/relationships/notesSlide" Target="../notesSlides/notesSlide7.xml"/></Relationships>
</file>

<file path=ppt/slides/_rels/slide8.xml.rels><?xml version="1.0" encoding="UTF-8" standalone="yes"?>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slideLayout" Target="../slideLayouts/slideLayout61.xml"/><Relationship Id="rId3" Type="http://schemas.openxmlformats.org/officeDocument/2006/relationships/notesSlide" Target="../notesSlides/notesSlide8.xml"/></Relationships>
</file>

<file path=ppt/slides/_rels/slide9.xml.rels><?xml version="1.0" encoding="UTF-8" standalone="yes"?>
<Relationships xmlns="http://schemas.openxmlformats.org/package/2006/relationships"><Relationship Id="rId1" Type="http://schemas.openxmlformats.org/officeDocument/2006/relationships/image" Target="../media/image12.png"/><Relationship Id="rId2" Type="http://schemas.openxmlformats.org/officeDocument/2006/relationships/image" Target="../media/image13.png"/><Relationship Id="rId3" Type="http://schemas.openxmlformats.org/officeDocument/2006/relationships/image" Target="../media/image14.png"/><Relationship Id="rId4" Type="http://schemas.openxmlformats.org/officeDocument/2006/relationships/slideLayout" Target="../slideLayouts/slideLayout61.xml"/><Relationship Id="rId5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xmlns:r="http://schemas.openxmlformats.org/officeDocument/2006/relationships" r:embed="rId1">
            <a:alphaModFix/>
          </a:blip>
          <a:stretch>
            <a:fillRect/>
          </a:stretch>
        </a:blipFill>
      </p:bgPr>
    </p:bg>
    <p:spTree>
      <p:nvGrpSpPr>
        <p:cNvPr id="58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8" name="Google Shape;697;p1"/>
          <p:cNvSpPr txBox="1"/>
          <p:nvPr/>
        </p:nvSpPr>
        <p:spPr>
          <a:xfrm>
            <a:off x="176949" y="1271500"/>
            <a:ext cx="6571200" cy="19964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800" i="0" lang="en-ID" strike="noStrike" u="none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[</a:t>
            </a:r>
            <a:r>
              <a:rPr b="1" sz="2800" lang="en-ID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Business optimization in predicting customer churn : a machine learning approach</a:t>
            </a:r>
            <a:r>
              <a:rPr b="1" cap="none" sz="2800" i="0" lang="en-ID" strike="noStrike" u="none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]</a:t>
            </a:r>
          </a:p>
        </p:txBody>
      </p:sp>
      <p:sp>
        <p:nvSpPr>
          <p:cNvPr id="1048579" name="Google Shape;698;p1"/>
          <p:cNvSpPr txBox="1"/>
          <p:nvPr/>
        </p:nvSpPr>
        <p:spPr>
          <a:xfrm>
            <a:off x="323262" y="3258044"/>
            <a:ext cx="5123700" cy="548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5464BE"/>
                </a:solidFill>
                <a:latin typeface="Open Sans"/>
                <a:ea typeface="Open Sans"/>
                <a:cs typeface="Open Sans"/>
                <a:sym typeface="Open Sans"/>
              </a:rPr>
              <a:t>[</a:t>
            </a:r>
            <a:r>
              <a:rPr b="1" sz="2000" lang="en-ID">
                <a:solidFill>
                  <a:srgbClr val="5464BE"/>
                </a:solidFill>
                <a:latin typeface="Open Sans"/>
                <a:ea typeface="Open Sans"/>
                <a:cs typeface="Open Sans"/>
                <a:sym typeface="Open Sans"/>
              </a:rPr>
              <a:t>ANN Team</a:t>
            </a:r>
            <a:r>
              <a:rPr b="1" cap="none" sz="2000" i="0" lang="en-ID" strike="noStrike" u="none">
                <a:solidFill>
                  <a:srgbClr val="5464BE"/>
                </a:solidFill>
                <a:latin typeface="Open Sans"/>
                <a:ea typeface="Open Sans"/>
                <a:cs typeface="Open Sans"/>
                <a:sym typeface="Open Sans"/>
              </a:rPr>
              <a:t>]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18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8" name="Google Shape;964;g191abe3b490_12_4745"/>
          <p:cNvSpPr txBox="1">
            <a:spLocks noGrp="1"/>
          </p:cNvSpPr>
          <p:nvPr>
            <p:ph type="title"/>
          </p:nvPr>
        </p:nvSpPr>
        <p:spPr>
          <a:xfrm>
            <a:off x="1016148" y="2077445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</a:pPr>
            <a:r>
              <a:rPr sz="4600" lang="en-ID"/>
              <a:t>Exploratory Data Analysis</a:t>
            </a:r>
            <a:endParaRPr sz="4600"/>
          </a:p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</a:pPr>
            <a:r>
              <a:rPr sz="4600" lang="en-ID"/>
              <a:t>(EDA)</a:t>
            </a:r>
            <a:endParaRPr sz="4600"/>
          </a:p>
        </p:txBody>
      </p:sp>
      <p:sp>
        <p:nvSpPr>
          <p:cNvPr id="1048819" name="Google Shape;965;g191abe3b490_12_4745"/>
          <p:cNvSpPr txBox="1">
            <a:spLocks noGrp="1"/>
          </p:cNvSpPr>
          <p:nvPr>
            <p:ph type="subTitle" idx="1"/>
          </p:nvPr>
        </p:nvSpPr>
        <p:spPr>
          <a:xfrm>
            <a:off x="1452679" y="3794073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Using </a:t>
            </a:r>
            <a:r>
              <a:rPr b="1" lang="en-ID"/>
              <a:t>Correlation Matrix, Bivariate and Multivariate</a:t>
            </a:r>
          </a:p>
        </p:txBody>
      </p:sp>
      <p:grpSp>
        <p:nvGrpSpPr>
          <p:cNvPr id="219" name="Google Shape;966;g191abe3b490_12_4745"/>
          <p:cNvGrpSpPr/>
          <p:nvPr/>
        </p:nvGrpSpPr>
        <p:grpSpPr>
          <a:xfrm>
            <a:off x="10422632" y="4130723"/>
            <a:ext cx="1169763" cy="2723341"/>
            <a:chOff x="731955" y="2811840"/>
            <a:chExt cx="564367" cy="1313910"/>
          </a:xfrm>
        </p:grpSpPr>
        <p:sp>
          <p:nvSpPr>
            <p:cNvPr id="1048820" name="Google Shape;967;g191abe3b490_12_4745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1" name="Google Shape;968;g191abe3b490_12_4745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2" name="Google Shape;969;g191abe3b490_12_4745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3" name="Google Shape;970;g191abe3b490_12_4745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4" name="Google Shape;971;g191abe3b490_12_4745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5" name="Google Shape;972;g191abe3b490_12_4745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6" name="Google Shape;973;g191abe3b490_12_4745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7" name="Google Shape;974;g191abe3b490_12_4745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8" name="Google Shape;975;g191abe3b490_12_4745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29" name="Google Shape;976;g191abe3b490_12_4745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0" name="Google Shape;977;g191abe3b490_12_4745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1" name="Google Shape;978;g191abe3b490_12_4745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2" name="Google Shape;979;g191abe3b490_12_4745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3" name="Google Shape;980;g191abe3b490_12_4745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4" name="Google Shape;981;g191abe3b490_12_4745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5" name="Google Shape;982;g191abe3b490_12_4745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6" name="Google Shape;983;g191abe3b490_12_4745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7" name="Google Shape;984;g191abe3b490_12_474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8" name="Google Shape;985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39" name="Google Shape;986;g191abe3b490_12_474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0" name="Google Shape;987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1" name="Google Shape;988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2" name="Google Shape;989;g191abe3b490_12_474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3" name="Google Shape;990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4" name="Google Shape;991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5" name="Google Shape;992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6" name="Google Shape;993;g191abe3b490_12_474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7" name="Google Shape;994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8" name="Google Shape;995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49" name="Google Shape;996;g191abe3b490_12_474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0" name="Google Shape;997;g191abe3b490_12_4745"/>
          <p:cNvGrpSpPr/>
          <p:nvPr/>
        </p:nvGrpSpPr>
        <p:grpSpPr>
          <a:xfrm flipH="1">
            <a:off x="845604" y="5633289"/>
            <a:ext cx="735967" cy="1220783"/>
            <a:chOff x="731955" y="3388996"/>
            <a:chExt cx="355077" cy="588982"/>
          </a:xfrm>
        </p:grpSpPr>
        <p:sp>
          <p:nvSpPr>
            <p:cNvPr id="1048850" name="Google Shape;998;g191abe3b490_12_474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1" name="Google Shape;999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2" name="Google Shape;1000;g191abe3b490_12_474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3" name="Google Shape;1001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4" name="Google Shape;1002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5" name="Google Shape;1003;g191abe3b490_12_474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6" name="Google Shape;1004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7" name="Google Shape;1005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8" name="Google Shape;1006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59" name="Google Shape;1007;g191abe3b490_12_474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60" name="Google Shape;1008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61" name="Google Shape;1009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62" name="Google Shape;1010;g191abe3b490_12_474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223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5" name="Google Shape;1016;g19dcec343aa_7_13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635696" y="1196819"/>
            <a:ext cx="5269542" cy="5025013"/>
          </a:xfrm>
          <a:prstGeom prst="rect"/>
          <a:noFill/>
          <a:ln>
            <a:noFill/>
          </a:ln>
        </p:spPr>
      </p:pic>
      <p:sp>
        <p:nvSpPr>
          <p:cNvPr id="1048865" name="Google Shape;1017;g19dcec343aa_7_136"/>
          <p:cNvSpPr/>
          <p:nvPr/>
        </p:nvSpPr>
        <p:spPr>
          <a:xfrm>
            <a:off x="1065188" y="1842253"/>
            <a:ext cx="4840050" cy="468474"/>
          </a:xfrm>
          <a:prstGeom prst="rect"/>
          <a:solidFill>
            <a:srgbClr val="FFFF00">
              <a:alpha val="50980"/>
            </a:srgbClr>
          </a:solidFill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866" name="Google Shape;1018;g19dcec343aa_7_136"/>
          <p:cNvSpPr/>
          <p:nvPr/>
        </p:nvSpPr>
        <p:spPr>
          <a:xfrm>
            <a:off x="636276" y="5971349"/>
            <a:ext cx="5259152" cy="249464"/>
          </a:xfrm>
          <a:prstGeom prst="rect"/>
          <a:solidFill>
            <a:srgbClr val="B4C6E7">
              <a:alpha val="50980"/>
            </a:srgbClr>
          </a:solidFill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867" name="Google Shape;1019;g19dcec343aa_7_136"/>
          <p:cNvSpPr/>
          <p:nvPr/>
        </p:nvSpPr>
        <p:spPr>
          <a:xfrm>
            <a:off x="535488" y="6220813"/>
            <a:ext cx="5804876" cy="430887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cap="none" sz="1100" i="0" lang="en-ID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 : </a:t>
            </a:r>
            <a:r>
              <a:rPr sz="1100" lang="en-ID" u="sng">
                <a:solidFill>
                  <a:schemeClr val="hlink"/>
                </a:solidFill>
                <a:latin typeface="Times New Roman"/>
                <a:ea typeface="Times New Roman"/>
                <a:cs typeface="Times New Roman"/>
                <a:sym typeface="Times New Roman"/>
                <a:hlinkClick r:id="rId2"/>
              </a:rPr>
              <a:t>https://www.kaggle.com/ankitverma2010/ecommerce-customer-churn-analysis-and-prediction</a:t>
            </a:r>
            <a:r>
              <a:rPr sz="11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</a:p>
        </p:txBody>
      </p:sp>
      <p:sp>
        <p:nvSpPr>
          <p:cNvPr id="1048868" name="Google Shape;1020;g19dcec343aa_7_136"/>
          <p:cNvSpPr txBox="1"/>
          <p:nvPr/>
        </p:nvSpPr>
        <p:spPr>
          <a:xfrm>
            <a:off x="0" y="286225"/>
            <a:ext cx="5393511" cy="584775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2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DATA OVERVIEW</a:t>
            </a:r>
          </a:p>
        </p:txBody>
      </p:sp>
      <p:pic>
        <p:nvPicPr>
          <p:cNvPr id="2097166" name="Google Shape;1021;g19dcec343aa_7_13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 rot="5400000">
            <a:off x="5935718" y="1611864"/>
            <a:ext cx="468476" cy="468476"/>
          </a:xfrm>
          <a:prstGeom prst="rect"/>
          <a:noFill/>
          <a:ln>
            <a:noFill/>
          </a:ln>
        </p:spPr>
      </p:pic>
      <p:grpSp>
        <p:nvGrpSpPr>
          <p:cNvPr id="224" name="Google Shape;1022;g19dcec343aa_7_136"/>
          <p:cNvGrpSpPr/>
          <p:nvPr/>
        </p:nvGrpSpPr>
        <p:grpSpPr>
          <a:xfrm>
            <a:off x="6461717" y="882068"/>
            <a:ext cx="4931546" cy="1115113"/>
            <a:chOff x="6624758" y="5311308"/>
            <a:chExt cx="4931546" cy="1115113"/>
          </a:xfrm>
        </p:grpSpPr>
        <p:sp>
          <p:nvSpPr>
            <p:cNvPr id="1048869" name="Google Shape;1023;g19dcec343aa_7_136"/>
            <p:cNvSpPr/>
            <p:nvPr/>
          </p:nvSpPr>
          <p:spPr>
            <a:xfrm>
              <a:off x="6624758" y="5442024"/>
              <a:ext cx="2268869" cy="309401"/>
            </a:xfrm>
            <a:prstGeom prst="rect"/>
            <a:solidFill>
              <a:srgbClr val="FFFF00">
                <a:alpha val="50980"/>
              </a:srgbClr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870" name="Google Shape;1024;g19dcec343aa_7_136"/>
            <p:cNvSpPr txBox="1"/>
            <p:nvPr/>
          </p:nvSpPr>
          <p:spPr>
            <a:xfrm>
              <a:off x="6624758" y="5311308"/>
              <a:ext cx="4931546" cy="1115113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Lemon"/>
                  <a:ea typeface="Lemon"/>
                  <a:cs typeface="Lemon"/>
                  <a:sym typeface="Lemon"/>
                </a:rPr>
                <a:t>Target Variable  </a:t>
              </a:r>
              <a:r>
                <a:rPr sz="1800" lang="en-ID">
                  <a:solidFill>
                    <a:schemeClr val="dk1"/>
                  </a:solidFill>
                  <a:latin typeface="Lemon"/>
                  <a:ea typeface="Lemon"/>
                  <a:cs typeface="Lemon"/>
                  <a:sym typeface="Lemon"/>
                </a:rPr>
                <a:t>:</a:t>
              </a:r>
            </a:p>
            <a:p>
              <a:pPr algn="l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400" lang="en-ID">
                  <a:solidFill>
                    <a:schemeClr val="dk1"/>
                  </a:solidFill>
                  <a:latin typeface="Lemon"/>
                  <a:ea typeface="Lemon"/>
                  <a:cs typeface="Lemon"/>
                  <a:sym typeface="Lemon"/>
                </a:rPr>
                <a:t>Churn (Classification Model)</a:t>
              </a:r>
            </a:p>
            <a:p>
              <a:pPr algn="l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400" lang="en-ID">
                  <a:solidFill>
                    <a:schemeClr val="dk1"/>
                  </a:solidFill>
                  <a:latin typeface="Lemon"/>
                  <a:ea typeface="Lemon"/>
                  <a:cs typeface="Lemon"/>
                  <a:sym typeface="Lemon"/>
                </a:rPr>
                <a:t>Tenure (Regression Model)</a:t>
              </a:r>
              <a:endParaRPr sz="1400">
                <a:solidFill>
                  <a:schemeClr val="dk1"/>
                </a:solidFill>
                <a:latin typeface="Lemon"/>
                <a:ea typeface="Lemon"/>
                <a:cs typeface="Lemon"/>
                <a:sym typeface="Lemon"/>
              </a:endParaRPr>
            </a:p>
          </p:txBody>
        </p:sp>
      </p:grpSp>
      <p:grpSp>
        <p:nvGrpSpPr>
          <p:cNvPr id="225" name="Google Shape;1025;g19dcec343aa_7_136"/>
          <p:cNvGrpSpPr/>
          <p:nvPr/>
        </p:nvGrpSpPr>
        <p:grpSpPr>
          <a:xfrm>
            <a:off x="6340364" y="6022674"/>
            <a:ext cx="5684946" cy="497800"/>
            <a:chOff x="6550980" y="5251199"/>
            <a:chExt cx="5684946" cy="497800"/>
          </a:xfrm>
        </p:grpSpPr>
        <p:sp>
          <p:nvSpPr>
            <p:cNvPr id="1048871" name="Google Shape;1026;g19dcec343aa_7_136"/>
            <p:cNvSpPr/>
            <p:nvPr/>
          </p:nvSpPr>
          <p:spPr>
            <a:xfrm>
              <a:off x="6624758" y="5397569"/>
              <a:ext cx="2343379" cy="309401"/>
            </a:xfrm>
            <a:prstGeom prst="rect"/>
            <a:solidFill>
              <a:schemeClr val="lt2">
                <a:alpha val="50980"/>
              </a:schemeClr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872" name="Google Shape;1027;g19dcec343aa_7_136"/>
            <p:cNvSpPr txBox="1"/>
            <p:nvPr/>
          </p:nvSpPr>
          <p:spPr>
            <a:xfrm>
              <a:off x="6550980" y="5251199"/>
              <a:ext cx="5684946" cy="4978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Lemon"/>
                  <a:ea typeface="Lemon"/>
                  <a:cs typeface="Lemon"/>
                  <a:sym typeface="Lemon"/>
                </a:rPr>
                <a:t>Dtype (Data Type)</a:t>
              </a:r>
              <a:endParaRPr sz="1800">
                <a:solidFill>
                  <a:schemeClr val="dk1"/>
                </a:solidFill>
                <a:latin typeface="Lemon"/>
                <a:ea typeface="Lemon"/>
                <a:cs typeface="Lemon"/>
                <a:sym typeface="Lemon"/>
              </a:endParaRPr>
            </a:p>
          </p:txBody>
        </p:sp>
      </p:grpSp>
      <p:pic>
        <p:nvPicPr>
          <p:cNvPr id="2097167" name="Google Shape;1028;g19dcec343aa_7_13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4">
            <a:alphaModFix/>
          </a:blip>
          <a:srcRect/>
          <a:stretch>
            <a:fillRect/>
          </a:stretch>
        </p:blipFill>
        <p:spPr>
          <a:xfrm rot="5400000">
            <a:off x="5861762" y="6026891"/>
            <a:ext cx="468476" cy="468476"/>
          </a:xfrm>
          <a:prstGeom prst="rect"/>
          <a:noFill/>
          <a:ln>
            <a:noFill/>
          </a:ln>
        </p:spPr>
      </p:pic>
      <p:sp>
        <p:nvSpPr>
          <p:cNvPr id="1048873" name="Google Shape;1029;g19dcec343aa_7_136"/>
          <p:cNvSpPr txBox="1"/>
          <p:nvPr/>
        </p:nvSpPr>
        <p:spPr>
          <a:xfrm>
            <a:off x="7480096" y="4128214"/>
            <a:ext cx="3913167" cy="904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r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(20 kolom dan 5630 baris, </a:t>
            </a:r>
            <a:r>
              <a:rPr b="0" cap="none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9 variabel input, 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2</a:t>
            </a:r>
            <a:r>
              <a:rPr b="0" cap="none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var.target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)</a:t>
            </a:r>
          </a:p>
        </p:txBody>
      </p:sp>
      <p:sp>
        <p:nvSpPr>
          <p:cNvPr id="1048874" name="Google Shape;1030;g19dcec343aa_7_136"/>
          <p:cNvSpPr txBox="1"/>
          <p:nvPr/>
        </p:nvSpPr>
        <p:spPr>
          <a:xfrm>
            <a:off x="8864750" y="2910441"/>
            <a:ext cx="3075790" cy="11582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6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Dataset Information?</a:t>
            </a:r>
            <a:endParaRPr sz="36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168" name="Google Shape;1031;g19dcec343aa_7_13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5">
            <a:alphaModFix/>
          </a:blip>
          <a:srcRect/>
          <a:stretch>
            <a:fillRect/>
          </a:stretch>
        </p:blipFill>
        <p:spPr>
          <a:xfrm rot="5400000">
            <a:off x="7049884" y="2552808"/>
            <a:ext cx="2055570" cy="2055570"/>
          </a:xfrm>
          <a:prstGeom prst="rect"/>
          <a:noFill/>
          <a:ln>
            <a:noFill/>
          </a:ln>
        </p:spPr>
      </p:pic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8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23" presetSubtype="16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5"/>
                                        <p:tgtEl>
                                          <p:spTgt spid="2097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6"/>
                                        <p:tgtEl>
                                          <p:spTgt spid="2097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23" presetSubtype="16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9"/>
                                        <p:tgtEl>
                                          <p:spTgt spid="10488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20"/>
                                        <p:tgtEl>
                                          <p:spTgt spid="10488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23" presetSubtype="16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3"/>
                                        <p:tgtEl>
                                          <p:spTgt spid="10488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24"/>
                                        <p:tgtEl>
                                          <p:spTgt spid="10488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5">
                      <p:stCondLst>
                        <p:cond delay="indefinite"/>
                      </p:stCondLst>
                      <p:childTnLst>
                        <p:par>
                          <p:cTn fill="hold" id="26">
                            <p:stCondLst>
                              <p:cond delay="0"/>
                            </p:stCondLst>
                            <p:childTnLst>
                              <p:par>
                                <p:cTn fill="hold" id="27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9"/>
                                        <p:tgtEl>
                                          <p:spTgt spid="1048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0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3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2"/>
                                        <p:tgtEl>
                                          <p:spTgt spid="2097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3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3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5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6">
                      <p:stCondLst>
                        <p:cond delay="indefinite"/>
                      </p:stCondLst>
                      <p:childTnLst>
                        <p:par>
                          <p:cTn fill="hold" id="37">
                            <p:stCondLst>
                              <p:cond delay="0"/>
                            </p:stCondLst>
                            <p:childTnLst>
                              <p:par>
                                <p:cTn fill="hold" id="38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0"/>
                                        <p:tgtEl>
                                          <p:spTgt spid="10488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1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4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3"/>
                                        <p:tgtEl>
                                          <p:spTgt spid="2097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4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6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29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80" name="Google Shape;1036;g19dcec343aa_7_156"/>
          <p:cNvSpPr txBox="1">
            <a:spLocks noGrp="1"/>
          </p:cNvSpPr>
          <p:nvPr>
            <p:ph type="title"/>
          </p:nvPr>
        </p:nvSpPr>
        <p:spPr>
          <a:xfrm>
            <a:off x="197579" y="249267"/>
            <a:ext cx="5120393" cy="992131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2800" lang="en-ID">
                <a:solidFill>
                  <a:schemeClr val="dk1"/>
                </a:solidFill>
              </a:rPr>
              <a:t>EXPLORATORY DATA ANALYSIS</a:t>
            </a:r>
          </a:p>
        </p:txBody>
      </p:sp>
      <p:grpSp>
        <p:nvGrpSpPr>
          <p:cNvPr id="230" name="Google Shape;1037;g19dcec343aa_7_156"/>
          <p:cNvGrpSpPr/>
          <p:nvPr/>
        </p:nvGrpSpPr>
        <p:grpSpPr>
          <a:xfrm flipH="1">
            <a:off x="449279" y="5291382"/>
            <a:ext cx="1131792" cy="1531133"/>
            <a:chOff x="3231057" y="5846468"/>
            <a:chExt cx="1701919" cy="2302424"/>
          </a:xfrm>
        </p:grpSpPr>
        <p:sp>
          <p:nvSpPr>
            <p:cNvPr id="1048881" name="Google Shape;1038;g19dcec343aa_7_156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2" name="Google Shape;1039;g19dcec343aa_7_156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3" name="Google Shape;1040;g19dcec343aa_7_156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4" name="Google Shape;1041;g19dcec343aa_7_156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5" name="Google Shape;1042;g19dcec343aa_7_156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6" name="Google Shape;1043;g19dcec343aa_7_156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7" name="Google Shape;1044;g19dcec343aa_7_156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8" name="Google Shape;1045;g19dcec343aa_7_156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89" name="Google Shape;1046;g19dcec343aa_7_156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90" name="Google Shape;1047;g19dcec343aa_7_156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91" name="Google Shape;1048;g19dcec343aa_7_156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892" name="Google Shape;1049;g19dcec343aa_7_156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69" name="Google Shape;1050;g19dcec343aa_7_15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5521995" y="495632"/>
            <a:ext cx="6429374" cy="5872750"/>
          </a:xfrm>
          <a:prstGeom prst="rect"/>
          <a:noFill/>
          <a:ln>
            <a:noFill/>
          </a:ln>
        </p:spPr>
      </p:pic>
      <p:graphicFrame>
        <p:nvGraphicFramePr>
          <p:cNvPr id="4194304" name="Google Shape;1051;g19dcec343aa_7_156"/>
          <p:cNvGraphicFramePr>
            <a:graphicFrameLocks/>
          </p:cNvGraphicFramePr>
          <p:nvPr/>
        </p:nvGraphicFramePr>
        <p:xfrm>
          <a:off x="1298117" y="1574798"/>
          <a:ext cx="3559575" cy="3475927"/>
        </p:xfrm>
        <a:graphic>
          <a:graphicData uri="http://schemas.openxmlformats.org/drawingml/2006/table">
            <a:tbl>
              <a:tblPr>
                <a:noFill/>
                <a:tableStyleId>{72DAC2A5-0A82-473D-91D7-F708F1B18EEC}</a:tableStyleId>
              </a:tblPr>
              <a:tblGrid>
                <a:gridCol w="1994775"/>
                <a:gridCol w="1564800"/>
              </a:tblGrid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b="1"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olumn</a:t>
                      </a: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b="1"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orrelation_ratio</a:t>
                      </a:r>
                      <a:endParaRPr b="1"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Tenure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40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omplain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25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ashbackamount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17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Daysincelastorder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19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Numberofdeviceregistered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10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Satisfactionscore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10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itytier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9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Warehousetohome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8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Numberofaddress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3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Ordercount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3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Hourspendonapp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2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Couponused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2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4765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Orderamounthikefromlastyear</a:t>
                      </a:r>
                      <a:endParaRPr cap="none" sz="1050" strike="noStrike" u="none">
                        <a:solidFill>
                          <a:schemeClr val="dk1"/>
                        </a:solidFill>
                        <a:latin typeface="Arial Narrow"/>
                        <a:ea typeface="Arial Narrow"/>
                        <a:cs typeface="Arial Narrow"/>
                        <a:sym typeface="Arial Narrow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50"/>
                        <a:buFont typeface="Arial Narrow"/>
                        <a:buNone/>
                      </a:pPr>
                      <a:r>
                        <a:rPr cap="none" sz="1050" lang="en-ID" strike="noStrike" u="none">
                          <a:solidFill>
                            <a:schemeClr val="dk1"/>
                          </a:solidFill>
                          <a:latin typeface="Arial Narrow"/>
                          <a:ea typeface="Arial Narrow"/>
                          <a:cs typeface="Arial Narrow"/>
                          <a:sym typeface="Arial Narrow"/>
                        </a:rPr>
                        <a:t>0.02</a:t>
                      </a: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  <p:cxnSp>
        <p:nvCxnSpPr>
          <p:cNvPr id="3145735" name="Google Shape;1052;g19dcec343aa_7_156"/>
          <p:cNvCxnSpPr>
            <a:cxnSpLocks/>
          </p:cNvCxnSpPr>
          <p:nvPr/>
        </p:nvCxnSpPr>
        <p:spPr>
          <a:xfrm>
            <a:off x="-6444" y="1192059"/>
            <a:ext cx="1873437" cy="0"/>
          </a:xfrm>
          <a:prstGeom prst="straightConnector1"/>
          <a:noFill/>
          <a:ln w="28575" cap="flat" cmpd="sng">
            <a:solidFill>
              <a:srgbClr val="E7ECEE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048893" name="Google Shape;1053;g19dcec343aa_7_156"/>
          <p:cNvSpPr/>
          <p:nvPr/>
        </p:nvSpPr>
        <p:spPr>
          <a:xfrm rot="5400000">
            <a:off x="5157841" y="3108908"/>
            <a:ext cx="4569759" cy="279132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b="1" sz="1600">
              <a:solidFill>
                <a:srgbClr val="394A89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8894" name="Google Shape;1054;g19dcec343aa_7_156"/>
          <p:cNvSpPr/>
          <p:nvPr/>
        </p:nvSpPr>
        <p:spPr>
          <a:xfrm rot="10800000">
            <a:off x="7303153" y="963593"/>
            <a:ext cx="3919419" cy="277804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b="1" sz="1600">
              <a:solidFill>
                <a:srgbClr val="394A89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10488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4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4194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31457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8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9"/>
                                        <p:tgtEl>
                                          <p:spTgt spid="10488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2"/>
                                        <p:tgtEl>
                                          <p:spTgt spid="2097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34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oogle Shape;1059;g19dcec343aa_7_178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8905" name="Google Shape;1060;g19dcec343aa_7_178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06" name="Google Shape;1061;g19dcec343aa_7_178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07" name="Google Shape;1062;g19dcec343aa_7_178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08" name="Google Shape;1063;g19dcec343aa_7_178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09" name="Google Shape;1064;g19dcec343aa_7_178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0" name="Google Shape;1065;g19dcec343aa_7_178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1" name="Google Shape;1066;g19dcec343aa_7_178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2" name="Google Shape;1067;g19dcec343aa_7_178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3" name="Google Shape;1068;g19dcec343aa_7_178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4" name="Google Shape;1069;g19dcec343aa_7_178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5" name="Google Shape;1070;g19dcec343aa_7_178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6" name="Google Shape;1071;g19dcec343aa_7_178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36" name="Google Shape;1072;g19dcec343aa_7_178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8917" name="Google Shape;1073;g19dcec343aa_7_178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8" name="Google Shape;1074;g19dcec343aa_7_178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19" name="Google Shape;1075;g19dcec343aa_7_178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20" name="Google Shape;1076;g19dcec343aa_7_178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21" name="Google Shape;1077;g19dcec343aa_7_178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22" name="Google Shape;1078;g19dcec343aa_7_178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0" name="Google Shape;1079;g19dcec343aa_7_17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t="317" b="316"/>
          <a:stretch>
            <a:fillRect/>
          </a:stretch>
        </p:blipFill>
        <p:spPr>
          <a:xfrm>
            <a:off x="4597108" y="1776672"/>
            <a:ext cx="6179700" cy="3623811"/>
          </a:xfrm>
          <a:prstGeom prst="rect"/>
          <a:noFill/>
          <a:ln>
            <a:noFill/>
          </a:ln>
        </p:spPr>
      </p:pic>
      <p:sp>
        <p:nvSpPr>
          <p:cNvPr id="1048923" name="Google Shape;1080;g19dcec343aa_7_178"/>
          <p:cNvSpPr/>
          <p:nvPr/>
        </p:nvSpPr>
        <p:spPr>
          <a:xfrm>
            <a:off x="4905030" y="3352801"/>
            <a:ext cx="5861410" cy="1971337"/>
          </a:xfrm>
          <a:custGeom>
            <a:avLst/>
            <a:ahLst/>
            <a:rect l="l" t="t" r="r" b="b"/>
            <a:pathLst>
              <a:path w="5861410" h="1971337" extrusionOk="0">
                <a:moveTo>
                  <a:pt x="5637" y="320144"/>
                </a:moveTo>
                <a:cubicBezTo>
                  <a:pt x="5637" y="138657"/>
                  <a:pt x="-41972" y="0"/>
                  <a:pt x="139515" y="0"/>
                </a:cubicBezTo>
                <a:cubicBezTo>
                  <a:pt x="1728433" y="654756"/>
                  <a:pt x="3046415" y="1732845"/>
                  <a:pt x="4804666" y="1727201"/>
                </a:cubicBezTo>
                <a:cubicBezTo>
                  <a:pt x="4986153" y="1727201"/>
                  <a:pt x="5861410" y="1696524"/>
                  <a:pt x="5861410" y="1878011"/>
                </a:cubicBezTo>
                <a:lnTo>
                  <a:pt x="5861410" y="1837746"/>
                </a:lnTo>
                <a:cubicBezTo>
                  <a:pt x="5861410" y="2019233"/>
                  <a:pt x="5604220" y="1963157"/>
                  <a:pt x="5422733" y="1963157"/>
                </a:cubicBezTo>
                <a:lnTo>
                  <a:pt x="334248" y="1963157"/>
                </a:lnTo>
                <a:cubicBezTo>
                  <a:pt x="152761" y="1963157"/>
                  <a:pt x="5637" y="1816033"/>
                  <a:pt x="5637" y="1634546"/>
                </a:cubicBezTo>
                <a:lnTo>
                  <a:pt x="5637" y="320144"/>
                </a:lnTo>
                <a:close/>
              </a:path>
            </a:pathLst>
          </a:cu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36" name="Google Shape;1081;g19dcec343aa_7_178"/>
          <p:cNvCxnSpPr>
            <a:cxnSpLocks/>
          </p:cNvCxnSpPr>
          <p:nvPr/>
        </p:nvCxnSpPr>
        <p:spPr>
          <a:xfrm rot="10800000">
            <a:off x="4075296" y="4338469"/>
            <a:ext cx="829734" cy="0"/>
          </a:xfrm>
          <a:prstGeom prst="straightConnector1"/>
          <a:noFill/>
          <a:ln w="285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048924" name="Google Shape;1082;g19dcec343aa_7_178"/>
          <p:cNvSpPr/>
          <p:nvPr/>
        </p:nvSpPr>
        <p:spPr>
          <a:xfrm>
            <a:off x="577547" y="3662680"/>
            <a:ext cx="3487381" cy="1329175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rgbClr val="394A89"/>
              </a:buClr>
              <a:buSzPts val="1600"/>
              <a:buFont typeface="Arial"/>
              <a:buNone/>
            </a:pP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The longer tenure, the lower number of churns. And not churn has a steeper trend compared to Churn. </a:t>
            </a:r>
          </a:p>
        </p:txBody>
      </p:sp>
      <p:sp>
        <p:nvSpPr>
          <p:cNvPr id="1048925" name="Google Shape;1083;g19dcec343aa_7_178"/>
          <p:cNvSpPr txBox="1"/>
          <p:nvPr/>
        </p:nvSpPr>
        <p:spPr>
          <a:xfrm>
            <a:off x="813418" y="671589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Churn and Not Churn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89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31457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9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39" name="Shape 1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1088;g19dcec343aa_7_206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8928" name="Google Shape;1089;g19dcec343aa_7_206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29" name="Google Shape;1090;g19dcec343aa_7_206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0" name="Google Shape;1091;g19dcec343aa_7_206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1" name="Google Shape;1092;g19dcec343aa_7_206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2" name="Google Shape;1093;g19dcec343aa_7_206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3" name="Google Shape;1094;g19dcec343aa_7_206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4" name="Google Shape;1095;g19dcec343aa_7_206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5" name="Google Shape;1096;g19dcec343aa_7_206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6" name="Google Shape;1097;g19dcec343aa_7_206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7" name="Google Shape;1098;g19dcec343aa_7_206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8" name="Google Shape;1099;g19dcec343aa_7_206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39" name="Google Shape;1100;g19dcec343aa_7_206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41" name="Google Shape;1101;g19dcec343aa_7_206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8940" name="Google Shape;1102;g19dcec343aa_7_206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41" name="Google Shape;1103;g19dcec343aa_7_206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42" name="Google Shape;1104;g19dcec343aa_7_206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43" name="Google Shape;1105;g19dcec343aa_7_206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44" name="Google Shape;1106;g19dcec343aa_7_206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45" name="Google Shape;1107;g19dcec343aa_7_206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1" name="Google Shape;1108;g19dcec343aa_7_20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884337" y="2318656"/>
            <a:ext cx="4663655" cy="3199827"/>
          </a:xfrm>
          <a:prstGeom prst="rect"/>
          <a:noFill/>
          <a:ln>
            <a:noFill/>
          </a:ln>
        </p:spPr>
      </p:pic>
      <p:sp>
        <p:nvSpPr>
          <p:cNvPr id="1048946" name="Google Shape;1109;g19dcec343aa_7_206"/>
          <p:cNvSpPr txBox="1"/>
          <p:nvPr/>
        </p:nvSpPr>
        <p:spPr>
          <a:xfrm>
            <a:off x="6165071" y="2226803"/>
            <a:ext cx="4724584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</a:pP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1. Customers with the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highest churn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of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9.0%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are on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customer complaints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</a:t>
            </a:r>
          </a:p>
        </p:txBody>
      </p:sp>
      <p:sp>
        <p:nvSpPr>
          <p:cNvPr id="1048947" name="Google Shape;1110;g19dcec343aa_7_206"/>
          <p:cNvSpPr txBox="1"/>
          <p:nvPr/>
        </p:nvSpPr>
        <p:spPr>
          <a:xfrm>
            <a:off x="6190413" y="3254662"/>
            <a:ext cx="4724584" cy="845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Arial"/>
              <a:buNone/>
            </a:pP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2. Customers with the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lowest churn 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of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7.8%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are </a:t>
            </a:r>
            <a:r>
              <a:rPr b="1" sz="1600" lang="en-ID">
                <a:solidFill>
                  <a:srgbClr val="1E4E79"/>
                </a:solidFill>
                <a:latin typeface="Raleway"/>
                <a:ea typeface="Raleway"/>
                <a:cs typeface="Raleway"/>
                <a:sym typeface="Raleway"/>
              </a:rPr>
              <a:t>non-complaining customers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</a:t>
            </a:r>
          </a:p>
        </p:txBody>
      </p:sp>
      <p:sp>
        <p:nvSpPr>
          <p:cNvPr id="1048948" name="Google Shape;1111;g19dcec343aa_7_206"/>
          <p:cNvSpPr/>
          <p:nvPr/>
        </p:nvSpPr>
        <p:spPr>
          <a:xfrm>
            <a:off x="4453466" y="4682067"/>
            <a:ext cx="829734" cy="461876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37" name="Google Shape;1112;g19dcec343aa_7_206"/>
          <p:cNvCxnSpPr>
            <a:cxnSpLocks/>
          </p:cNvCxnSpPr>
          <p:nvPr/>
        </p:nvCxnSpPr>
        <p:spPr>
          <a:xfrm>
            <a:off x="5308601" y="4913005"/>
            <a:ext cx="829734" cy="0"/>
          </a:xfrm>
          <a:prstGeom prst="straightConnector1"/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triangle" w="med" len="med"/>
          </a:ln>
        </p:spPr>
      </p:cxnSp>
      <p:sp>
        <p:nvSpPr>
          <p:cNvPr id="1048949" name="Google Shape;1113;g19dcec343aa_7_206"/>
          <p:cNvSpPr/>
          <p:nvPr/>
        </p:nvSpPr>
        <p:spPr>
          <a:xfrm>
            <a:off x="6157523" y="4471948"/>
            <a:ext cx="4723606" cy="83789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rgbClr val="394A89"/>
              </a:buClr>
              <a:buSzPts val="1600"/>
              <a:buFont typeface="Arial"/>
              <a:buNone/>
            </a:pP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The more customer complaints increase, the higher the churn rate.</a:t>
            </a:r>
          </a:p>
        </p:txBody>
      </p:sp>
      <p:sp>
        <p:nvSpPr>
          <p:cNvPr id="1048950" name="Google Shape;1114;g19dcec343aa_7_206"/>
          <p:cNvSpPr txBox="1"/>
          <p:nvPr/>
        </p:nvSpPr>
        <p:spPr>
          <a:xfrm>
            <a:off x="797930" y="741317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Comparison Complain to Churn and Not Churn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951" name="Google Shape;1115;g19dcec343aa_7_206"/>
          <p:cNvSpPr/>
          <p:nvPr/>
        </p:nvSpPr>
        <p:spPr>
          <a:xfrm>
            <a:off x="2396055" y="4693963"/>
            <a:ext cx="829734" cy="461876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38" name="Google Shape;1116;g19dcec343aa_7_206"/>
          <p:cNvCxnSpPr>
            <a:cxnSpLocks/>
          </p:cNvCxnSpPr>
          <p:nvPr/>
        </p:nvCxnSpPr>
        <p:spPr>
          <a:xfrm>
            <a:off x="3216164" y="4913005"/>
            <a:ext cx="1237302" cy="0"/>
          </a:xfrm>
          <a:prstGeom prst="straightConnector1"/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89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10489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4">
                      <p:stCondLst>
                        <p:cond delay="indefinite"/>
                      </p:stCondLst>
                      <p:childTnLst>
                        <p:par>
                          <p:cTn fill="hold" id="15">
                            <p:stCondLst>
                              <p:cond delay="0"/>
                            </p:stCondLst>
                            <p:childTnLst>
                              <p:par>
                                <p:cTn fill="hold" id="16" nodeType="clickEffect" presetClass="entr" presetID="10" presetSubtype="0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8"/>
                                        <p:tgtEl>
                                          <p:spTgt spid="10489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0" presetSubtype="0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1"/>
                                        <p:tgtEl>
                                          <p:spTgt spid="31457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2" nodeType="withEffect" presetClass="entr" presetID="10" presetSubtype="0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dur="1" fill="hold" id="2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4"/>
                                        <p:tgtEl>
                                          <p:spTgt spid="10489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5" nodeType="withEffect" presetClass="entr" presetID="10" presetSubtype="0">
                                  <p:stCondLst>
                                    <p:cond delay="330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7"/>
                                        <p:tgtEl>
                                          <p:spTgt spid="31457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8" nodeType="withEffect" presetClass="entr" presetID="10" presetSubtype="0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dur="1" fill="hold" id="2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0"/>
                                        <p:tgtEl>
                                          <p:spTgt spid="10489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44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54" name="Google Shape;1121;g19dcec343aa_7_238"/>
          <p:cNvSpPr txBox="1"/>
          <p:nvPr/>
        </p:nvSpPr>
        <p:spPr>
          <a:xfrm>
            <a:off x="797930" y="873397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Distribution of Cashback Customers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45" name="Google Shape;1122;g19dcec343aa_7_238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8955" name="Google Shape;1123;g19dcec343aa_7_238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56" name="Google Shape;1124;g19dcec343aa_7_238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57" name="Google Shape;1125;g19dcec343aa_7_238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58" name="Google Shape;1126;g19dcec343aa_7_238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59" name="Google Shape;1127;g19dcec343aa_7_238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0" name="Google Shape;1128;g19dcec343aa_7_238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1" name="Google Shape;1129;g19dcec343aa_7_238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2" name="Google Shape;1130;g19dcec343aa_7_238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3" name="Google Shape;1131;g19dcec343aa_7_238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4" name="Google Shape;1132;g19dcec343aa_7_238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5" name="Google Shape;1133;g19dcec343aa_7_238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6" name="Google Shape;1134;g19dcec343aa_7_238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46" name="Google Shape;1135;g19dcec343aa_7_238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8967" name="Google Shape;1136;g19dcec343aa_7_238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8" name="Google Shape;1137;g19dcec343aa_7_238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69" name="Google Shape;1138;g19dcec343aa_7_238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70" name="Google Shape;1139;g19dcec343aa_7_238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71" name="Google Shape;1140;g19dcec343aa_7_238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72" name="Google Shape;1141;g19dcec343aa_7_238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2" name="Google Shape;1142;g19dcec343aa_7_2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4317055" y="2337439"/>
            <a:ext cx="6487490" cy="2897695"/>
          </a:xfrm>
          <a:prstGeom prst="rect"/>
          <a:noFill/>
          <a:ln>
            <a:noFill/>
          </a:ln>
        </p:spPr>
      </p:pic>
      <p:sp>
        <p:nvSpPr>
          <p:cNvPr id="1048973" name="Google Shape;1143;g19dcec343aa_7_238"/>
          <p:cNvSpPr/>
          <p:nvPr/>
        </p:nvSpPr>
        <p:spPr>
          <a:xfrm>
            <a:off x="5545667" y="4146064"/>
            <a:ext cx="5143364" cy="722270"/>
          </a:xfrm>
          <a:custGeom>
            <a:avLst/>
            <a:ahLst/>
            <a:rect l="l" t="t" r="r" b="b"/>
            <a:pathLst>
              <a:path w="5143364" h="722270" extrusionOk="0">
                <a:moveTo>
                  <a:pt x="0" y="143716"/>
                </a:moveTo>
                <a:cubicBezTo>
                  <a:pt x="0" y="79809"/>
                  <a:pt x="51806" y="28003"/>
                  <a:pt x="115713" y="28003"/>
                </a:cubicBezTo>
                <a:cubicBezTo>
                  <a:pt x="194735" y="15168"/>
                  <a:pt x="56434" y="-31264"/>
                  <a:pt x="517676" y="34050"/>
                </a:cubicBezTo>
                <a:cubicBezTo>
                  <a:pt x="876770" y="87672"/>
                  <a:pt x="1865142" y="187459"/>
                  <a:pt x="2259390" y="251765"/>
                </a:cubicBezTo>
                <a:cubicBezTo>
                  <a:pt x="2653638" y="316072"/>
                  <a:pt x="2447862" y="269168"/>
                  <a:pt x="2904938" y="311032"/>
                </a:cubicBezTo>
                <a:cubicBezTo>
                  <a:pt x="2968845" y="311032"/>
                  <a:pt x="5143364" y="406380"/>
                  <a:pt x="5143364" y="470287"/>
                </a:cubicBezTo>
                <a:cubicBezTo>
                  <a:pt x="5143364" y="624567"/>
                  <a:pt x="5110707" y="452277"/>
                  <a:pt x="5110707" y="606557"/>
                </a:cubicBezTo>
                <a:cubicBezTo>
                  <a:pt x="5110707" y="670464"/>
                  <a:pt x="5058901" y="722270"/>
                  <a:pt x="4994994" y="722270"/>
                </a:cubicBezTo>
                <a:lnTo>
                  <a:pt x="115713" y="722270"/>
                </a:lnTo>
                <a:cubicBezTo>
                  <a:pt x="51806" y="722270"/>
                  <a:pt x="0" y="670464"/>
                  <a:pt x="0" y="606557"/>
                </a:cubicBezTo>
                <a:lnTo>
                  <a:pt x="0" y="143716"/>
                </a:lnTo>
                <a:close/>
              </a:path>
            </a:pathLst>
          </a:cu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39" name="Google Shape;1144;g19dcec343aa_7_238"/>
          <p:cNvCxnSpPr>
            <a:cxnSpLocks/>
          </p:cNvCxnSpPr>
          <p:nvPr/>
        </p:nvCxnSpPr>
        <p:spPr>
          <a:xfrm flipH="1">
            <a:off x="3810000" y="4525563"/>
            <a:ext cx="1705187" cy="9123"/>
          </a:xfrm>
          <a:prstGeom prst="straightConnector1"/>
          <a:noFill/>
          <a:ln w="285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048974" name="Google Shape;1145;g19dcec343aa_7_238"/>
          <p:cNvSpPr/>
          <p:nvPr/>
        </p:nvSpPr>
        <p:spPr>
          <a:xfrm>
            <a:off x="583431" y="3645029"/>
            <a:ext cx="3201184" cy="182371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rgbClr val="394A89"/>
              </a:buClr>
              <a:buSzPts val="1600"/>
              <a:buFont typeface="Arial"/>
              <a:buNone/>
            </a:pP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Increase Cashback Amount has trend Positive in Not Churn On the contrary Increase Cashback Amount has trend Negative in Chur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89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31457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9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49" name="Shape 1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1150;g19dcec343aa_7_266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8977" name="Google Shape;1151;g19dcec343aa_7_266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78" name="Google Shape;1152;g19dcec343aa_7_266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79" name="Google Shape;1153;g19dcec343aa_7_266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0" name="Google Shape;1154;g19dcec343aa_7_266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1" name="Google Shape;1155;g19dcec343aa_7_266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2" name="Google Shape;1156;g19dcec343aa_7_266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3" name="Google Shape;1157;g19dcec343aa_7_266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4" name="Google Shape;1158;g19dcec343aa_7_266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5" name="Google Shape;1159;g19dcec343aa_7_266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6" name="Google Shape;1160;g19dcec343aa_7_266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7" name="Google Shape;1161;g19dcec343aa_7_266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88" name="Google Shape;1162;g19dcec343aa_7_266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51" name="Google Shape;1163;g19dcec343aa_7_266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8989" name="Google Shape;1164;g19dcec343aa_7_266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90" name="Google Shape;1165;g19dcec343aa_7_266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91" name="Google Shape;1166;g19dcec343aa_7_266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92" name="Google Shape;1167;g19dcec343aa_7_266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93" name="Google Shape;1168;g19dcec343aa_7_266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994" name="Google Shape;1169;g19dcec343aa_7_266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3" name="Google Shape;1170;g19dcec343aa_7_26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4389030" y="2182502"/>
            <a:ext cx="6407018" cy="3052632"/>
          </a:xfrm>
          <a:prstGeom prst="rect"/>
          <a:noFill/>
          <a:ln>
            <a:noFill/>
          </a:ln>
        </p:spPr>
      </p:pic>
      <p:sp>
        <p:nvSpPr>
          <p:cNvPr id="1048995" name="Google Shape;1171;g19dcec343aa_7_266"/>
          <p:cNvSpPr/>
          <p:nvPr/>
        </p:nvSpPr>
        <p:spPr>
          <a:xfrm>
            <a:off x="583430" y="3098294"/>
            <a:ext cx="3201184" cy="182371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rgbClr val="394A89"/>
              </a:buClr>
              <a:buSzPts val="1600"/>
              <a:buFont typeface="Arial"/>
              <a:buNone/>
            </a:pP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Customer who ordered Laptop and Accessory has a significant number of Not Churn compared same order category with Churn.</a:t>
            </a:r>
          </a:p>
        </p:txBody>
      </p:sp>
      <p:sp>
        <p:nvSpPr>
          <p:cNvPr id="1048996" name="Google Shape;1172;g19dcec343aa_7_266"/>
          <p:cNvSpPr txBox="1"/>
          <p:nvPr/>
        </p:nvSpPr>
        <p:spPr>
          <a:xfrm>
            <a:off x="797930" y="873397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Prefered Order Categories Customer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997" name="Google Shape;1173;g19dcec343aa_7_266"/>
          <p:cNvSpPr/>
          <p:nvPr/>
        </p:nvSpPr>
        <p:spPr>
          <a:xfrm>
            <a:off x="4887688" y="2178400"/>
            <a:ext cx="1116130" cy="2996791"/>
          </a:xfrm>
          <a:custGeom>
            <a:avLst/>
            <a:ahLst/>
            <a:rect l="l" t="t" r="r" b="b"/>
            <a:pathLst>
              <a:path w="1020527" h="2801843" extrusionOk="0">
                <a:moveTo>
                  <a:pt x="2367" y="168732"/>
                </a:moveTo>
                <a:cubicBezTo>
                  <a:pt x="2367" y="75544"/>
                  <a:pt x="77911" y="0"/>
                  <a:pt x="171099" y="0"/>
                </a:cubicBezTo>
                <a:lnTo>
                  <a:pt x="508549" y="0"/>
                </a:lnTo>
                <a:cubicBezTo>
                  <a:pt x="601737" y="0"/>
                  <a:pt x="546652" y="1828144"/>
                  <a:pt x="546652" y="1921332"/>
                </a:cubicBezTo>
                <a:cubicBezTo>
                  <a:pt x="509460" y="2289422"/>
                  <a:pt x="871411" y="2095988"/>
                  <a:pt x="949425" y="2197655"/>
                </a:cubicBezTo>
                <a:cubicBezTo>
                  <a:pt x="1027439" y="2299322"/>
                  <a:pt x="977546" y="2449413"/>
                  <a:pt x="1014738" y="2531334"/>
                </a:cubicBezTo>
                <a:cubicBezTo>
                  <a:pt x="1014738" y="2624522"/>
                  <a:pt x="1048050" y="2801843"/>
                  <a:pt x="954862" y="2801843"/>
                </a:cubicBezTo>
                <a:lnTo>
                  <a:pt x="73128" y="2801842"/>
                </a:lnTo>
                <a:cubicBezTo>
                  <a:pt x="-20060" y="2801842"/>
                  <a:pt x="2367" y="2624522"/>
                  <a:pt x="2367" y="2531334"/>
                </a:cubicBezTo>
                <a:lnTo>
                  <a:pt x="2367" y="168732"/>
                </a:lnTo>
                <a:close/>
              </a:path>
            </a:pathLst>
          </a:cu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40" name="Google Shape;1174;g19dcec343aa_7_266"/>
          <p:cNvCxnSpPr>
            <a:cxnSpLocks/>
          </p:cNvCxnSpPr>
          <p:nvPr/>
        </p:nvCxnSpPr>
        <p:spPr>
          <a:xfrm rot="10800000">
            <a:off x="3800679" y="4019275"/>
            <a:ext cx="1087009" cy="0"/>
          </a:xfrm>
          <a:prstGeom prst="straightConnector1"/>
          <a:noFill/>
          <a:ln w="285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89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31457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9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9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54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5" name="Google Shape;1179;g19dcec343aa_7_294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000" name="Google Shape;1180;g19dcec343aa_7_294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1" name="Google Shape;1181;g19dcec343aa_7_294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2" name="Google Shape;1182;g19dcec343aa_7_294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3" name="Google Shape;1183;g19dcec343aa_7_294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4" name="Google Shape;1184;g19dcec343aa_7_294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5" name="Google Shape;1185;g19dcec343aa_7_294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6" name="Google Shape;1186;g19dcec343aa_7_294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7" name="Google Shape;1187;g19dcec343aa_7_294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8" name="Google Shape;1188;g19dcec343aa_7_294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09" name="Google Shape;1189;g19dcec343aa_7_294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0" name="Google Shape;1190;g19dcec343aa_7_294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1" name="Google Shape;1191;g19dcec343aa_7_294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56" name="Google Shape;1192;g19dcec343aa_7_294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9012" name="Google Shape;1193;g19dcec343aa_7_294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3" name="Google Shape;1194;g19dcec343aa_7_294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4" name="Google Shape;1195;g19dcec343aa_7_294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5" name="Google Shape;1196;g19dcec343aa_7_294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6" name="Google Shape;1197;g19dcec343aa_7_294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17" name="Google Shape;1198;g19dcec343aa_7_294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4" name="Google Shape;1199;g19dcec343aa_7_294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b="-1"/>
          <a:stretch>
            <a:fillRect/>
          </a:stretch>
        </p:blipFill>
        <p:spPr>
          <a:xfrm>
            <a:off x="1015286" y="2019300"/>
            <a:ext cx="6434668" cy="2848884"/>
          </a:xfrm>
          <a:prstGeom prst="rect"/>
          <a:noFill/>
          <a:ln>
            <a:noFill/>
          </a:ln>
        </p:spPr>
      </p:pic>
      <p:sp>
        <p:nvSpPr>
          <p:cNvPr id="1049018" name="Google Shape;1200;g19dcec343aa_7_294"/>
          <p:cNvSpPr/>
          <p:nvPr/>
        </p:nvSpPr>
        <p:spPr>
          <a:xfrm>
            <a:off x="6772097" y="5001426"/>
            <a:ext cx="3201184" cy="1252091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rgbClr val="394A89"/>
              </a:buClr>
              <a:buSzPts val="1600"/>
              <a:buFont typeface="Arial"/>
              <a:buNone/>
            </a:pP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Customers with complaints have a ratio churn increase in all order categories.</a:t>
            </a:r>
          </a:p>
        </p:txBody>
      </p:sp>
      <p:sp>
        <p:nvSpPr>
          <p:cNvPr id="1049019" name="Google Shape;1201;g19dcec343aa_7_294"/>
          <p:cNvSpPr txBox="1"/>
          <p:nvPr/>
        </p:nvSpPr>
        <p:spPr>
          <a:xfrm>
            <a:off x="632200" y="473412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Distribution of Complain &amp; Order Categories vs Ratio Churn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41" name="Google Shape;1202;g19dcec343aa_7_294"/>
          <p:cNvCxnSpPr>
            <a:cxnSpLocks/>
          </p:cNvCxnSpPr>
          <p:nvPr/>
        </p:nvCxnSpPr>
        <p:spPr>
          <a:xfrm>
            <a:off x="5719628" y="4617732"/>
            <a:ext cx="1039636" cy="927190"/>
          </a:xfrm>
          <a:prstGeom prst="straightConnector1"/>
          <a:noFill/>
          <a:ln w="285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257" name="Google Shape;1203;g19dcec343aa_7_294"/>
          <p:cNvGrpSpPr/>
          <p:nvPr/>
        </p:nvGrpSpPr>
        <p:grpSpPr>
          <a:xfrm>
            <a:off x="4705150" y="2000050"/>
            <a:ext cx="2504172" cy="2555107"/>
            <a:chOff x="4705150" y="2000050"/>
            <a:chExt cx="2504172" cy="2555107"/>
          </a:xfrm>
        </p:grpSpPr>
        <p:cxnSp>
          <p:nvCxnSpPr>
            <p:cNvPr id="3145742" name="Google Shape;1204;g19dcec343aa_7_294"/>
            <p:cNvCxnSpPr>
              <a:cxnSpLocks/>
            </p:cNvCxnSpPr>
            <p:nvPr/>
          </p:nvCxnSpPr>
          <p:spPr>
            <a:xfrm>
              <a:off x="4706754" y="4552749"/>
              <a:ext cx="2502568" cy="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3" name="Google Shape;1205;g19dcec343aa_7_294"/>
            <p:cNvCxnSpPr>
              <a:cxnSpLocks/>
            </p:cNvCxnSpPr>
            <p:nvPr/>
          </p:nvCxnSpPr>
          <p:spPr>
            <a:xfrm>
              <a:off x="4705150" y="3429000"/>
              <a:ext cx="0" cy="1126157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4" name="Google Shape;1206;g19dcec343aa_7_294"/>
            <p:cNvCxnSpPr>
              <a:cxnSpLocks/>
            </p:cNvCxnSpPr>
            <p:nvPr/>
          </p:nvCxnSpPr>
          <p:spPr>
            <a:xfrm>
              <a:off x="4705150" y="3426593"/>
              <a:ext cx="579122" cy="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5" name="Google Shape;1207;g19dcec343aa_7_294"/>
            <p:cNvCxnSpPr>
              <a:cxnSpLocks/>
            </p:cNvCxnSpPr>
            <p:nvPr/>
          </p:nvCxnSpPr>
          <p:spPr>
            <a:xfrm>
              <a:off x="5284272" y="3426592"/>
              <a:ext cx="0" cy="385012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6" name="Google Shape;1208;g19dcec343aa_7_294"/>
            <p:cNvCxnSpPr>
              <a:cxnSpLocks/>
            </p:cNvCxnSpPr>
            <p:nvPr/>
          </p:nvCxnSpPr>
          <p:spPr>
            <a:xfrm>
              <a:off x="5284272" y="3809999"/>
              <a:ext cx="336882" cy="1605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7" name="Google Shape;1209;g19dcec343aa_7_294"/>
            <p:cNvCxnSpPr>
              <a:cxnSpLocks/>
            </p:cNvCxnSpPr>
            <p:nvPr/>
          </p:nvCxnSpPr>
          <p:spPr>
            <a:xfrm>
              <a:off x="5621154" y="3599848"/>
              <a:ext cx="0" cy="219777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8" name="Google Shape;1210;g19dcec343aa_7_294"/>
            <p:cNvCxnSpPr>
              <a:cxnSpLocks/>
            </p:cNvCxnSpPr>
            <p:nvPr/>
          </p:nvCxnSpPr>
          <p:spPr>
            <a:xfrm>
              <a:off x="5621156" y="3552689"/>
              <a:ext cx="474844" cy="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49" name="Google Shape;1211;g19dcec343aa_7_294"/>
            <p:cNvCxnSpPr>
              <a:cxnSpLocks/>
            </p:cNvCxnSpPr>
            <p:nvPr/>
          </p:nvCxnSpPr>
          <p:spPr>
            <a:xfrm>
              <a:off x="6096000" y="2019300"/>
              <a:ext cx="0" cy="1533389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50" name="Google Shape;1212;g19dcec343aa_7_294"/>
            <p:cNvCxnSpPr>
              <a:cxnSpLocks/>
            </p:cNvCxnSpPr>
            <p:nvPr/>
          </p:nvCxnSpPr>
          <p:spPr>
            <a:xfrm>
              <a:off x="6096000" y="2000050"/>
              <a:ext cx="663264" cy="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51" name="Google Shape;1213;g19dcec343aa_7_294"/>
            <p:cNvCxnSpPr>
              <a:cxnSpLocks/>
            </p:cNvCxnSpPr>
            <p:nvPr/>
          </p:nvCxnSpPr>
          <p:spPr>
            <a:xfrm>
              <a:off x="6759264" y="2000050"/>
              <a:ext cx="0" cy="1552639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52" name="Google Shape;1214;g19dcec343aa_7_294"/>
            <p:cNvCxnSpPr>
              <a:cxnSpLocks/>
            </p:cNvCxnSpPr>
            <p:nvPr/>
          </p:nvCxnSpPr>
          <p:spPr>
            <a:xfrm>
              <a:off x="6759264" y="3552689"/>
              <a:ext cx="450058" cy="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5753" name="Google Shape;1215;g19dcec343aa_7_294"/>
            <p:cNvCxnSpPr>
              <a:cxnSpLocks/>
            </p:cNvCxnSpPr>
            <p:nvPr/>
          </p:nvCxnSpPr>
          <p:spPr>
            <a:xfrm>
              <a:off x="7209322" y="3552689"/>
              <a:ext cx="0" cy="1000060"/>
            </a:xfrm>
            <a:prstGeom prst="straightConnector1"/>
            <a:noFill/>
            <a:ln w="28575" cap="flat" cmpd="sng">
              <a:solidFill>
                <a:srgbClr val="FF000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31457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90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60" name="Shape 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1" name="Google Shape;1220;g19dcec343aa_7_334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022" name="Google Shape;1221;g19dcec343aa_7_334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3" name="Google Shape;1222;g19dcec343aa_7_334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4" name="Google Shape;1223;g19dcec343aa_7_334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5" name="Google Shape;1224;g19dcec343aa_7_334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6" name="Google Shape;1225;g19dcec343aa_7_334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7" name="Google Shape;1226;g19dcec343aa_7_334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8" name="Google Shape;1227;g19dcec343aa_7_334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29" name="Google Shape;1228;g19dcec343aa_7_334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0" name="Google Shape;1229;g19dcec343aa_7_334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1" name="Google Shape;1230;g19dcec343aa_7_334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2" name="Google Shape;1231;g19dcec343aa_7_334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3" name="Google Shape;1232;g19dcec343aa_7_334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2" name="Google Shape;1233;g19dcec343aa_7_334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9034" name="Google Shape;1234;g19dcec343aa_7_334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5" name="Google Shape;1235;g19dcec343aa_7_334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6" name="Google Shape;1236;g19dcec343aa_7_334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7" name="Google Shape;1237;g19dcec343aa_7_334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8" name="Google Shape;1238;g19dcec343aa_7_334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39" name="Google Shape;1239;g19dcec343aa_7_334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040" name="Google Shape;1240;g19dcec343aa_7_334"/>
          <p:cNvSpPr/>
          <p:nvPr/>
        </p:nvSpPr>
        <p:spPr>
          <a:xfrm>
            <a:off x="3865287" y="5125489"/>
            <a:ext cx="3734651" cy="1095069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More City Tier increase, more ratio churn increase in </a:t>
            </a:r>
            <a:r>
              <a:rPr b="1" sz="1600" lang="en-ID">
                <a:solidFill>
                  <a:srgbClr val="34B5DF"/>
                </a:solidFill>
                <a:latin typeface="Raleway"/>
                <a:ea typeface="Raleway"/>
                <a:cs typeface="Raleway"/>
                <a:sym typeface="Raleway"/>
              </a:rPr>
              <a:t>Fashion</a:t>
            </a: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and </a:t>
            </a:r>
            <a:r>
              <a:rPr b="1" sz="1600" lang="en-ID">
                <a:solidFill>
                  <a:srgbClr val="C00000"/>
                </a:solidFill>
                <a:latin typeface="Raleway"/>
                <a:ea typeface="Raleway"/>
                <a:cs typeface="Raleway"/>
                <a:sym typeface="Raleway"/>
              </a:rPr>
              <a:t>Mobile Phones</a:t>
            </a:r>
          </a:p>
        </p:txBody>
      </p:sp>
      <p:sp>
        <p:nvSpPr>
          <p:cNvPr id="1049041" name="Google Shape;1241;g19dcec343aa_7_334"/>
          <p:cNvSpPr txBox="1"/>
          <p:nvPr/>
        </p:nvSpPr>
        <p:spPr>
          <a:xfrm>
            <a:off x="632200" y="473412"/>
            <a:ext cx="10630007" cy="926979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Distribution of Complain &amp; Order Categories vs Ratio Churn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175" name="Google Shape;1242;g19dcec343aa_7_334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2246300" y="1865904"/>
            <a:ext cx="6826970" cy="3049327"/>
          </a:xfrm>
          <a:prstGeom prst="rect"/>
          <a:noFill/>
          <a:ln>
            <a:noFill/>
          </a:ln>
        </p:spPr>
      </p:pic>
      <p:sp>
        <p:nvSpPr>
          <p:cNvPr id="1049042" name="Google Shape;1243;g19dcec343aa_7_334"/>
          <p:cNvSpPr/>
          <p:nvPr/>
        </p:nvSpPr>
        <p:spPr>
          <a:xfrm>
            <a:off x="3949597" y="2988734"/>
            <a:ext cx="368904" cy="1544834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3" name="Google Shape;1244;g19dcec343aa_7_334"/>
          <p:cNvSpPr/>
          <p:nvPr/>
        </p:nvSpPr>
        <p:spPr>
          <a:xfrm>
            <a:off x="6040150" y="2582333"/>
            <a:ext cx="368904" cy="195319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4" name="Google Shape;1245;g19dcec343aa_7_334"/>
          <p:cNvSpPr/>
          <p:nvPr/>
        </p:nvSpPr>
        <p:spPr>
          <a:xfrm>
            <a:off x="8128694" y="1865904"/>
            <a:ext cx="368904" cy="2667663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C0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5" name="Google Shape;1246;g19dcec343aa_7_334"/>
          <p:cNvSpPr/>
          <p:nvPr/>
        </p:nvSpPr>
        <p:spPr>
          <a:xfrm>
            <a:off x="2956678" y="3784600"/>
            <a:ext cx="368904" cy="74896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34B5DF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6" name="Google Shape;1247;g19dcec343aa_7_334"/>
          <p:cNvSpPr/>
          <p:nvPr/>
        </p:nvSpPr>
        <p:spPr>
          <a:xfrm>
            <a:off x="5037416" y="2463800"/>
            <a:ext cx="368904" cy="2069767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34B5DF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7" name="Google Shape;1248;g19dcec343aa_7_334"/>
          <p:cNvSpPr/>
          <p:nvPr/>
        </p:nvSpPr>
        <p:spPr>
          <a:xfrm>
            <a:off x="7127969" y="3154227"/>
            <a:ext cx="368904" cy="1380406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34B5DF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48" name="Google Shape;1249;g19dcec343aa_7_334"/>
          <p:cNvSpPr/>
          <p:nvPr/>
        </p:nvSpPr>
        <p:spPr>
          <a:xfrm rot="5400000">
            <a:off x="5636637" y="2317950"/>
            <a:ext cx="191953" cy="5170306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2097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9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1049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9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9"/>
                                        <p:tgtEl>
                                          <p:spTgt spid="1049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2"/>
                                        <p:tgtEl>
                                          <p:spTgt spid="1049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5"/>
                                        <p:tgtEl>
                                          <p:spTgt spid="1049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8"/>
                                        <p:tgtEl>
                                          <p:spTgt spid="1049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1"/>
                                        <p:tgtEl>
                                          <p:spTgt spid="1049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65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Google Shape;1254;g19dcec343aa_7_367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051" name="Google Shape;1255;g19dcec343aa_7_36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2" name="Google Shape;1256;g19dcec343aa_7_36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3" name="Google Shape;1257;g19dcec343aa_7_36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4" name="Google Shape;1258;g19dcec343aa_7_36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5" name="Google Shape;1259;g19dcec343aa_7_36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6" name="Google Shape;1260;g19dcec343aa_7_36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7" name="Google Shape;1261;g19dcec343aa_7_36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8" name="Google Shape;1262;g19dcec343aa_7_36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59" name="Google Shape;1263;g19dcec343aa_7_36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0" name="Google Shape;1264;g19dcec343aa_7_36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1" name="Google Shape;1265;g19dcec343aa_7_36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2" name="Google Shape;1266;g19dcec343aa_7_36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7" name="Google Shape;1267;g19dcec343aa_7_367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9063" name="Google Shape;1268;g19dcec343aa_7_36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4" name="Google Shape;1269;g19dcec343aa_7_36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5" name="Google Shape;1270;g19dcec343aa_7_36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6" name="Google Shape;1271;g19dcec343aa_7_36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7" name="Google Shape;1272;g19dcec343aa_7_36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68" name="Google Shape;1273;g19dcec343aa_7_36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069" name="Google Shape;1274;g19dcec343aa_7_367"/>
          <p:cNvSpPr/>
          <p:nvPr/>
        </p:nvSpPr>
        <p:spPr>
          <a:xfrm>
            <a:off x="0" y="2649208"/>
            <a:ext cx="5774750" cy="1971109"/>
          </a:xfrm>
          <a:prstGeom prst="rect"/>
          <a:solidFill>
            <a:srgbClr val="E5EBED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70" name="Google Shape;1275;g19dcec343aa_7_367"/>
          <p:cNvSpPr/>
          <p:nvPr/>
        </p:nvSpPr>
        <p:spPr>
          <a:xfrm>
            <a:off x="6542314" y="2221181"/>
            <a:ext cx="5774750" cy="2560505"/>
          </a:xfrm>
          <a:prstGeom prst="rect"/>
          <a:solidFill>
            <a:schemeClr val="lt1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176" name="Google Shape;1276;g19dcec343aa_7_36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5314933" y="1747564"/>
            <a:ext cx="5748244" cy="3819389"/>
          </a:xfrm>
          <a:prstGeom prst="rect"/>
          <a:noFill/>
          <a:ln>
            <a:noFill/>
          </a:ln>
        </p:spPr>
      </p:pic>
      <p:sp>
        <p:nvSpPr>
          <p:cNvPr id="1049071" name="Google Shape;1277;g19dcec343aa_7_367"/>
          <p:cNvSpPr txBox="1"/>
          <p:nvPr/>
        </p:nvSpPr>
        <p:spPr>
          <a:xfrm>
            <a:off x="583431" y="528759"/>
            <a:ext cx="10647380" cy="808128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Distribution of Complain &amp; Order Categories vs Ratio Churn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072" name="Google Shape;1278;g19dcec343aa_7_367"/>
          <p:cNvSpPr/>
          <p:nvPr/>
        </p:nvSpPr>
        <p:spPr>
          <a:xfrm>
            <a:off x="-465010" y="2545659"/>
            <a:ext cx="2411016" cy="672801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</a:pPr>
            <a:r>
              <a:rPr b="1" sz="80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endParaRPr b="1" sz="2800">
              <a:solidFill>
                <a:srgbClr val="394A89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49073" name="Google Shape;1279;g19dcec343aa_7_367"/>
          <p:cNvSpPr/>
          <p:nvPr/>
        </p:nvSpPr>
        <p:spPr>
          <a:xfrm>
            <a:off x="454755" y="2463651"/>
            <a:ext cx="4463142" cy="2245549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More Number Of Device Registered increased and more ratio churn increased in </a:t>
            </a: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Fashion, </a:t>
            </a:r>
            <a:r>
              <a:rPr b="1" sz="1600" lang="en-ID">
                <a:solidFill>
                  <a:srgbClr val="385623"/>
                </a:solidFill>
                <a:latin typeface="Raleway"/>
                <a:ea typeface="Raleway"/>
                <a:cs typeface="Raleway"/>
                <a:sym typeface="Raleway"/>
              </a:rPr>
              <a:t>laptops &amp; accessories,</a:t>
            </a: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 and </a:t>
            </a:r>
            <a:r>
              <a:rPr b="1" sz="1600" lang="en-ID">
                <a:solidFill>
                  <a:srgbClr val="C00000"/>
                </a:solidFill>
                <a:latin typeface="Raleway"/>
                <a:ea typeface="Raleway"/>
                <a:cs typeface="Raleway"/>
                <a:sym typeface="Raleway"/>
              </a:rPr>
              <a:t>Mobile Phones</a:t>
            </a:r>
            <a:r>
              <a:rPr b="1" sz="1600" lang="en-ID">
                <a:solidFill>
                  <a:srgbClr val="394A89"/>
                </a:solidFill>
                <a:latin typeface="Raleway"/>
                <a:ea typeface="Raleway"/>
                <a:cs typeface="Raleway"/>
                <a:sym typeface="Raleway"/>
              </a:rPr>
              <a:t>.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750" id="7"/>
                                        <p:tgtEl>
                                          <p:spTgt spid="209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2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700" id="10"/>
                                        <p:tgtEl>
                                          <p:spTgt spid="10490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1049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9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xmlns:r="http://schemas.openxmlformats.org/officeDocument/2006/relationships" r:embed="rId1">
            <a:alphaModFix/>
          </a:blip>
          <a:stretch>
            <a:fillRect/>
          </a:stretch>
        </a:blipFill>
      </p:bgPr>
    </p:bg>
    <p:spTree>
      <p:nvGrpSpPr>
        <p:cNvPr id="108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71" name="Shape 1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2" name="Google Shape;1284;g19978a75a87_0_7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084" name="Google Shape;1285;g19978a75a87_0_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85" name="Google Shape;1286;g19978a75a87_0_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86" name="Google Shape;1287;g19978a75a87_0_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87" name="Google Shape;1288;g19978a75a87_0_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88" name="Google Shape;1289;g19978a75a87_0_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89" name="Google Shape;1290;g19978a75a87_0_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0" name="Google Shape;1291;g19978a75a87_0_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1" name="Google Shape;1292;g19978a75a87_0_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2" name="Google Shape;1293;g19978a75a87_0_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3" name="Google Shape;1294;g19978a75a87_0_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4" name="Google Shape;1295;g19978a75a87_0_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5" name="Google Shape;1296;g19978a75a87_0_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3" name="Google Shape;1297;g19978a75a87_0_7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096" name="Google Shape;1298;g19978a75a87_0_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7" name="Google Shape;1299;g19978a75a87_0_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8" name="Google Shape;1300;g19978a75a87_0_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099" name="Google Shape;1301;g19978a75a87_0_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00" name="Google Shape;1302;g19978a75a87_0_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01" name="Google Shape;1303;g19978a75a87_0_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102" name="Google Shape;1304;g19978a75a87_0_7"/>
          <p:cNvSpPr txBox="1"/>
          <p:nvPr/>
        </p:nvSpPr>
        <p:spPr>
          <a:xfrm>
            <a:off x="583430" y="369826"/>
            <a:ext cx="10647300" cy="808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INSIGHTS </a:t>
            </a:r>
          </a:p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(</a:t>
            </a:r>
            <a:r>
              <a:rPr sz="24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External Data</a:t>
            </a:r>
            <a:r>
              <a:rPr b="0" cap="none" sz="24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54" name="Straight Arrow Connector 2"/>
          <p:cNvCxnSpPr>
            <a:cxnSpLocks/>
          </p:cNvCxnSpPr>
          <p:nvPr/>
        </p:nvCxnSpPr>
        <p:spPr>
          <a:xfrm>
            <a:off x="-108857" y="3710276"/>
            <a:ext cx="12300857" cy="0"/>
          </a:xfrm>
          <a:prstGeom prst="straightConnector1"/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9103" name="Flowchart: Connector 6"/>
          <p:cNvSpPr/>
          <p:nvPr/>
        </p:nvSpPr>
        <p:spPr>
          <a:xfrm>
            <a:off x="1972569" y="3481676"/>
            <a:ext cx="457200" cy="457200"/>
          </a:xfrm>
          <a:prstGeom prst="flowChartConnector"/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5">
                <a:lumMod val="50000"/>
              </a:schemeClr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lang="en-ID"/>
          </a:p>
        </p:txBody>
      </p:sp>
      <p:sp>
        <p:nvSpPr>
          <p:cNvPr id="1049104" name="TextBox 8"/>
          <p:cNvSpPr txBox="1"/>
          <p:nvPr/>
        </p:nvSpPr>
        <p:spPr>
          <a:xfrm>
            <a:off x="740498" y="1890941"/>
            <a:ext cx="3477172" cy="1043940"/>
          </a:xfrm>
          <a:prstGeom prst="rect"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p>
            <a:pPr algn="ctr"/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85%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 of customer churn because of </a:t>
            </a:r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poor service 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that could have been prevented.</a:t>
            </a:r>
            <a:endParaRPr dirty="0" sz="1600" lang="en-ID">
              <a:solidFill>
                <a:srgbClr val="0070C0"/>
              </a:solidFill>
              <a:latin typeface="Raleway" pitchFamily="2" charset="0"/>
            </a:endParaRPr>
          </a:p>
        </p:txBody>
      </p:sp>
      <p:sp>
        <p:nvSpPr>
          <p:cNvPr id="1049105" name="TextBox 10"/>
          <p:cNvSpPr txBox="1"/>
          <p:nvPr/>
        </p:nvSpPr>
        <p:spPr>
          <a:xfrm>
            <a:off x="911212" y="2976214"/>
            <a:ext cx="2894242" cy="369332"/>
          </a:xfrm>
          <a:prstGeom prst="rect"/>
          <a:noFill/>
        </p:spPr>
        <p:txBody>
          <a:bodyPr wrap="square">
            <a:spAutoFit/>
          </a:bodyPr>
          <a:p>
            <a:pPr algn="ctr"/>
            <a:r>
              <a:rPr dirty="0" sz="900" lang="fr-FR"/>
              <a:t>Source : https://www.slideshare.net/ekolsky/cx-for-executives </a:t>
            </a:r>
            <a:endParaRPr dirty="0" sz="900" lang="en-ID"/>
          </a:p>
        </p:txBody>
      </p:sp>
      <p:sp>
        <p:nvSpPr>
          <p:cNvPr id="1049106" name="TextBox 12"/>
          <p:cNvSpPr txBox="1"/>
          <p:nvPr/>
        </p:nvSpPr>
        <p:spPr>
          <a:xfrm>
            <a:off x="4045484" y="4182064"/>
            <a:ext cx="3621979" cy="1399540"/>
          </a:xfrm>
          <a:prstGeom prst="rect"/>
          <a:noFill/>
        </p:spPr>
        <p:txBody>
          <a:bodyPr wrap="square">
            <a:spAutoFit/>
          </a:bodyPr>
          <a:p>
            <a:pPr algn="ctr"/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67%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 of customer churn could be avoided if </a:t>
            </a:r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resolved the customer’s issue</a:t>
            </a:r>
            <a:r>
              <a:rPr dirty="0" sz="2400" lang="en-US">
                <a:solidFill>
                  <a:srgbClr val="0070C0"/>
                </a:solidFill>
                <a:latin typeface="Raleway" pitchFamily="2" charset="0"/>
              </a:rPr>
              <a:t> 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during their first interaction.</a:t>
            </a:r>
            <a:endParaRPr dirty="0" sz="1600" lang="en-ID">
              <a:solidFill>
                <a:srgbClr val="0070C0"/>
              </a:solidFill>
              <a:latin typeface="Raleway" pitchFamily="2" charset="0"/>
            </a:endParaRPr>
          </a:p>
        </p:txBody>
      </p:sp>
      <p:sp>
        <p:nvSpPr>
          <p:cNvPr id="1049107" name="TextBox 14"/>
          <p:cNvSpPr txBox="1"/>
          <p:nvPr/>
        </p:nvSpPr>
        <p:spPr>
          <a:xfrm>
            <a:off x="3279890" y="5652906"/>
            <a:ext cx="5282111" cy="369332"/>
          </a:xfrm>
          <a:prstGeom prst="rect"/>
          <a:noFill/>
        </p:spPr>
        <p:txBody>
          <a:bodyPr wrap="square">
            <a:spAutoFit/>
          </a:bodyPr>
          <a:p>
            <a:pPr algn="ctr"/>
            <a:r>
              <a:rPr dirty="0" sz="900" lang="fr-FR"/>
              <a:t>Source : https://www.getfeedback.com/resources/cx/40-stats-churn-customersatisfaction/#:~:text=67%25%20of%20customer%20churn%20could,(Kolsky)</a:t>
            </a:r>
            <a:endParaRPr dirty="0" sz="900" lang="en-ID"/>
          </a:p>
        </p:txBody>
      </p:sp>
      <p:sp>
        <p:nvSpPr>
          <p:cNvPr id="1049108" name="TextBox 16"/>
          <p:cNvSpPr txBox="1"/>
          <p:nvPr/>
        </p:nvSpPr>
        <p:spPr>
          <a:xfrm>
            <a:off x="7371252" y="1920143"/>
            <a:ext cx="4169940" cy="1158240"/>
          </a:xfrm>
          <a:prstGeom prst="rect"/>
          <a:noFill/>
        </p:spPr>
        <p:txBody>
          <a:bodyPr wrap="square">
            <a:spAutoFit/>
          </a:bodyPr>
          <a:p>
            <a:pPr algn="ctr"/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82%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 of customers have stopped doing business with e-commerce because of </a:t>
            </a:r>
            <a:r>
              <a:rPr b="1" dirty="0" sz="2400" lang="en-US">
                <a:solidFill>
                  <a:srgbClr val="0070C0"/>
                </a:solidFill>
                <a:latin typeface="Raleway" pitchFamily="2" charset="0"/>
              </a:rPr>
              <a:t>bad customer service</a:t>
            </a:r>
            <a:r>
              <a:rPr dirty="0" sz="1600" lang="en-US">
                <a:solidFill>
                  <a:srgbClr val="0070C0"/>
                </a:solidFill>
                <a:latin typeface="Raleway" pitchFamily="2" charset="0"/>
              </a:rPr>
              <a:t>. </a:t>
            </a:r>
            <a:endParaRPr dirty="0" sz="1600" lang="en-ID">
              <a:solidFill>
                <a:srgbClr val="0070C0"/>
              </a:solidFill>
              <a:latin typeface="Raleway" pitchFamily="2" charset="0"/>
            </a:endParaRPr>
          </a:p>
        </p:txBody>
      </p:sp>
      <p:sp>
        <p:nvSpPr>
          <p:cNvPr id="1049109" name="TextBox 18"/>
          <p:cNvSpPr txBox="1"/>
          <p:nvPr/>
        </p:nvSpPr>
        <p:spPr>
          <a:xfrm>
            <a:off x="7720341" y="3048588"/>
            <a:ext cx="3418059" cy="369332"/>
          </a:xfrm>
          <a:prstGeom prst="rect"/>
          <a:noFill/>
        </p:spPr>
        <p:txBody>
          <a:bodyPr wrap="square">
            <a:spAutoFit/>
          </a:bodyPr>
          <a:p>
            <a:pPr algn="ctr"/>
            <a:r>
              <a:rPr dirty="0" sz="900" lang="en-US"/>
              <a:t>Source : https://www.zendesk.com/blog/whycompanies-should-invest-in-the-customer-experience/</a:t>
            </a:r>
            <a:endParaRPr dirty="0" sz="900" lang="en-ID"/>
          </a:p>
        </p:txBody>
      </p:sp>
      <p:sp>
        <p:nvSpPr>
          <p:cNvPr id="1049110" name="Flowchart: Connector 19"/>
          <p:cNvSpPr/>
          <p:nvPr/>
        </p:nvSpPr>
        <p:spPr>
          <a:xfrm>
            <a:off x="9441459" y="3476793"/>
            <a:ext cx="457200" cy="457200"/>
          </a:xfrm>
          <a:prstGeom prst="flowChartConnector"/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5">
                <a:lumMod val="50000"/>
              </a:schemeClr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lang="en-ID"/>
          </a:p>
        </p:txBody>
      </p:sp>
      <p:sp>
        <p:nvSpPr>
          <p:cNvPr id="1049111" name="Flowchart: Connector 20"/>
          <p:cNvSpPr/>
          <p:nvPr/>
        </p:nvSpPr>
        <p:spPr>
          <a:xfrm>
            <a:off x="5621331" y="3476793"/>
            <a:ext cx="457200" cy="457200"/>
          </a:xfrm>
          <a:prstGeom prst="flowChartConnector"/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5">
                <a:lumMod val="50000"/>
              </a:schemeClr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lang="en-ID"/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2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dur="500" id="7"/>
                                        <p:tgtEl>
                                          <p:spTgt spid="3145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grpId="0" id="8" nodeType="withEffect" presetClass="entr" presetID="23" presetSubtype="16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10"/>
                                        <p:tgtEl>
                                          <p:spTgt spid="1049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11"/>
                                        <p:tgtEl>
                                          <p:spTgt spid="1049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12" nodeType="withEffect" presetClass="entr" presetID="23" presetSubtype="16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1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14"/>
                                        <p:tgtEl>
                                          <p:spTgt spid="1049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15"/>
                                        <p:tgtEl>
                                          <p:spTgt spid="1049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16" nodeType="withEffect" presetClass="entr" presetID="23" presetSubtype="16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18"/>
                                        <p:tgtEl>
                                          <p:spTgt spid="1049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19"/>
                                        <p:tgtEl>
                                          <p:spTgt spid="1049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20" nodeType="withEffect" presetClass="entr" presetID="23" presetSubtype="16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22"/>
                                        <p:tgtEl>
                                          <p:spTgt spid="1049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23"/>
                                        <p:tgtEl>
                                          <p:spTgt spid="1049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24" nodeType="withEffect" presetClass="entr" presetID="23" presetSubtype="16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26"/>
                                        <p:tgtEl>
                                          <p:spTgt spid="1049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27"/>
                                        <p:tgtEl>
                                          <p:spTgt spid="1049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28" nodeType="withEffect" presetClass="entr" presetID="23" presetSubtype="16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dur="1" fill="hold" id="2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30"/>
                                        <p:tgtEl>
                                          <p:spTgt spid="1049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31"/>
                                        <p:tgtEl>
                                          <p:spTgt spid="1049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32" nodeType="withEffect" presetClass="entr" presetID="23" presetSubtype="16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34"/>
                                        <p:tgtEl>
                                          <p:spTgt spid="1049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35"/>
                                        <p:tgtEl>
                                          <p:spTgt spid="1049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36" nodeType="withEffect" presetClass="entr" presetID="23" presetSubtype="16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dur="1" fill="hold" id="3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38"/>
                                        <p:tgtEl>
                                          <p:spTgt spid="1049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39"/>
                                        <p:tgtEl>
                                          <p:spTgt spid="1049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40" nodeType="withEffect" presetClass="entr" presetID="23" presetSubtype="16">
                                  <p:stCondLst>
                                    <p:cond delay="3900"/>
                                  </p:stCondLst>
                                  <p:childTnLst>
                                    <p:set>
                                      <p:cBhvr>
                                        <p:cTn dur="1" fill="hold" id="4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dur="500" fill="hold" id="42"/>
                                        <p:tgtEl>
                                          <p:spTgt spid="1049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500" fill="hold" id="43"/>
                                        <p:tgtEl>
                                          <p:spTgt spid="1049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9103" grpId="0" animBg="1"/>
      <p:bldP spid="1049104" grpId="0" animBg="1"/>
      <p:bldP spid="1049105" grpId="0"/>
      <p:bldP spid="1049106" grpId="0"/>
      <p:bldP spid="1049107" grpId="0"/>
      <p:bldP spid="1049108" grpId="0"/>
      <p:bldP spid="1049109" grpId="0"/>
      <p:bldP spid="1049110" grpId="0" animBg="1"/>
      <p:bldP spid="10491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77" name="Shape 1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45755" name="Google Shape;1310;g19dcec343aa_17_0"/>
          <p:cNvCxnSpPr>
            <a:cxnSpLocks/>
          </p:cNvCxnSpPr>
          <p:nvPr/>
        </p:nvCxnSpPr>
        <p:spPr>
          <a:xfrm rot="10800000">
            <a:off x="8741116" y="3344493"/>
            <a:ext cx="1040129" cy="0"/>
          </a:xfrm>
          <a:prstGeom prst="straightConnector1"/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49121" name="Google Shape;1311;g19dcec343aa_17_0"/>
          <p:cNvSpPr/>
          <p:nvPr/>
        </p:nvSpPr>
        <p:spPr>
          <a:xfrm>
            <a:off x="175519" y="2068317"/>
            <a:ext cx="2551895" cy="2552352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145756" name="Google Shape;1312;g19dcec343aa_17_0"/>
          <p:cNvCxnSpPr>
            <a:cxnSpLocks/>
            <a:endCxn id="1049121" idx="6"/>
          </p:cNvCxnSpPr>
          <p:nvPr/>
        </p:nvCxnSpPr>
        <p:spPr>
          <a:xfrm rot="10800000">
            <a:off x="2727414" y="3344493"/>
            <a:ext cx="930300" cy="0"/>
          </a:xfrm>
          <a:prstGeom prst="straightConnector1"/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49122" name="Google Shape;1313;g19dcec343aa_17_0"/>
          <p:cNvSpPr/>
          <p:nvPr/>
        </p:nvSpPr>
        <p:spPr>
          <a:xfrm>
            <a:off x="3330728" y="2068317"/>
            <a:ext cx="2551895" cy="2552352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145757" name="Google Shape;1314;g19dcec343aa_17_0"/>
          <p:cNvCxnSpPr>
            <a:cxnSpLocks/>
            <a:endCxn id="1049122" idx="6"/>
          </p:cNvCxnSpPr>
          <p:nvPr/>
        </p:nvCxnSpPr>
        <p:spPr>
          <a:xfrm rot="10800000">
            <a:off x="5882623" y="3344493"/>
            <a:ext cx="1040100" cy="0"/>
          </a:xfrm>
          <a:prstGeom prst="straightConnector1"/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49123" name="Google Shape;1315;g19dcec343aa_17_0"/>
          <p:cNvSpPr/>
          <p:nvPr/>
        </p:nvSpPr>
        <p:spPr>
          <a:xfrm>
            <a:off x="6406380" y="2053468"/>
            <a:ext cx="2563319" cy="2513282"/>
          </a:xfrm>
          <a:prstGeom prst="flowChartConnector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24" name="Google Shape;1316;g19dcec343aa_17_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3700"/>
              <a:buFont typeface="Fredoka One"/>
              <a:buNone/>
            </a:pPr>
            <a:r>
              <a:rPr lang="en-ID">
                <a:solidFill>
                  <a:srgbClr val="0070C0"/>
                </a:solidFill>
              </a:rPr>
              <a:t>Data Pre-Processing</a:t>
            </a:r>
            <a:endParaRPr>
              <a:solidFill>
                <a:srgbClr val="0070C0"/>
              </a:solidFill>
            </a:endParaRPr>
          </a:p>
        </p:txBody>
      </p:sp>
      <p:sp>
        <p:nvSpPr>
          <p:cNvPr id="1049125" name="Google Shape;1317;g19dcec343aa_17_0"/>
          <p:cNvSpPr txBox="1">
            <a:spLocks noGrp="1"/>
          </p:cNvSpPr>
          <p:nvPr>
            <p:ph type="subTitle" idx="1"/>
          </p:nvPr>
        </p:nvSpPr>
        <p:spPr>
          <a:xfrm>
            <a:off x="28500" y="3011898"/>
            <a:ext cx="2832000" cy="1323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-228600" lvl="0" marL="2286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sz="1700" lang="en-ID">
                <a:latin typeface="Raleway"/>
                <a:ea typeface="Raleway"/>
                <a:cs typeface="Raleway"/>
                <a:sym typeface="Raleway"/>
              </a:rPr>
              <a:t>Check Irrelevant Data</a:t>
            </a:r>
            <a:endParaRPr sz="2000"/>
          </a:p>
          <a:p>
            <a:pPr algn="ctr" indent="-228600" lvl="0" marL="2286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sz="1700" lang="en-ID">
                <a:latin typeface="Raleway"/>
                <a:ea typeface="Raleway"/>
                <a:cs typeface="Raleway"/>
                <a:sym typeface="Raleway"/>
              </a:rPr>
              <a:t>Check Missing Data</a:t>
            </a:r>
            <a:endParaRPr sz="2000"/>
          </a:p>
          <a:p>
            <a:pPr algn="ctr" indent="-228600" lvl="0" marL="2286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sz="1700" lang="en-ID">
                <a:latin typeface="Raleway"/>
                <a:ea typeface="Raleway"/>
                <a:cs typeface="Raleway"/>
                <a:sym typeface="Raleway"/>
              </a:rPr>
              <a:t>Check Duplicate</a:t>
            </a:r>
            <a:endParaRPr sz="2000"/>
          </a:p>
          <a:p>
            <a:pPr algn="ctr" indent="-228600" lvl="0" marL="2286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sz="1700" lang="en-ID">
                <a:latin typeface="Raleway"/>
                <a:ea typeface="Raleway"/>
                <a:cs typeface="Raleway"/>
                <a:sym typeface="Raleway"/>
              </a:rPr>
              <a:t>Check Outlier</a:t>
            </a:r>
            <a:endParaRPr sz="2000"/>
          </a:p>
        </p:txBody>
      </p:sp>
      <p:sp>
        <p:nvSpPr>
          <p:cNvPr id="1049126" name="Google Shape;1318;g19dcec343aa_17_0"/>
          <p:cNvSpPr txBox="1">
            <a:spLocks noGrp="1"/>
          </p:cNvSpPr>
          <p:nvPr>
            <p:ph type="subTitle" idx="2"/>
          </p:nvPr>
        </p:nvSpPr>
        <p:spPr>
          <a:xfrm>
            <a:off x="3073628" y="2977041"/>
            <a:ext cx="3162900" cy="1323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</a:pPr>
            <a:r>
              <a:rPr sz="1600" lang="en-ID">
                <a:solidFill>
                  <a:schemeClr val="dk1"/>
                </a:solidFill>
              </a:rPr>
              <a:t>One Hot Encoder</a:t>
            </a:r>
            <a:endParaRPr sz="1600">
              <a:solidFill>
                <a:schemeClr val="dk1"/>
              </a:solidFill>
            </a:endParaRPr>
          </a:p>
          <a:p>
            <a:pPr algn="ctr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</a:pPr>
            <a:r>
              <a:rPr sz="1600" lang="en-ID">
                <a:solidFill>
                  <a:schemeClr val="dk1"/>
                </a:solidFill>
              </a:rPr>
              <a:t>Simple Imputer</a:t>
            </a:r>
            <a:endParaRPr sz="1600">
              <a:solidFill>
                <a:schemeClr val="dk1"/>
              </a:solidFill>
            </a:endParaRPr>
          </a:p>
          <a:p>
            <a:pPr algn="ctr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</a:pPr>
            <a:r>
              <a:rPr sz="1600" lang="en-ID">
                <a:solidFill>
                  <a:schemeClr val="dk1"/>
                </a:solidFill>
              </a:rPr>
              <a:t>Iterative Imputer</a:t>
            </a:r>
          </a:p>
        </p:txBody>
      </p:sp>
      <p:sp>
        <p:nvSpPr>
          <p:cNvPr id="1049127" name="Google Shape;1319;g19dcec343aa_17_0"/>
          <p:cNvSpPr txBox="1">
            <a:spLocks noGrp="1"/>
          </p:cNvSpPr>
          <p:nvPr>
            <p:ph type="subTitle" idx="3"/>
          </p:nvPr>
        </p:nvSpPr>
        <p:spPr>
          <a:xfrm>
            <a:off x="-88372" y="2509191"/>
            <a:ext cx="31620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3700"/>
              <a:buNone/>
            </a:pPr>
            <a:r>
              <a:rPr sz="2100" lang="en-ID">
                <a:solidFill>
                  <a:srgbClr val="0070C0"/>
                </a:solidFill>
              </a:rPr>
              <a:t>Data Cleaning</a:t>
            </a:r>
            <a:endParaRPr sz="2100">
              <a:solidFill>
                <a:srgbClr val="0070C0"/>
              </a:solidFill>
            </a:endParaRPr>
          </a:p>
        </p:txBody>
      </p:sp>
      <p:sp>
        <p:nvSpPr>
          <p:cNvPr id="1049128" name="Google Shape;1320;g19dcec343aa_17_0"/>
          <p:cNvSpPr txBox="1">
            <a:spLocks noGrp="1"/>
          </p:cNvSpPr>
          <p:nvPr>
            <p:ph type="subTitle" idx="4"/>
          </p:nvPr>
        </p:nvSpPr>
        <p:spPr>
          <a:xfrm>
            <a:off x="3045096" y="2550997"/>
            <a:ext cx="3162900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3700"/>
              <a:buNone/>
            </a:pPr>
            <a:r>
              <a:rPr sz="1800" lang="en-ID">
                <a:solidFill>
                  <a:srgbClr val="0070C0"/>
                </a:solidFill>
              </a:rPr>
              <a:t>Feature Encoding</a:t>
            </a:r>
            <a:endParaRPr sz="1800">
              <a:solidFill>
                <a:srgbClr val="0070C0"/>
              </a:solidFill>
            </a:endParaRPr>
          </a:p>
        </p:txBody>
      </p:sp>
      <p:sp>
        <p:nvSpPr>
          <p:cNvPr id="1049129" name="Google Shape;1321;g19dcec343aa_17_0"/>
          <p:cNvSpPr txBox="1">
            <a:spLocks noGrp="1"/>
          </p:cNvSpPr>
          <p:nvPr>
            <p:ph type="subTitle" idx="5"/>
          </p:nvPr>
        </p:nvSpPr>
        <p:spPr>
          <a:xfrm>
            <a:off x="6645703" y="3036978"/>
            <a:ext cx="1966800" cy="783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-228600" lvl="0" marL="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lang="en-ID"/>
              <a:t>80 : 20</a:t>
            </a:r>
            <a:endParaRPr sz="1600"/>
          </a:p>
          <a:p>
            <a:pPr algn="ctr" indent="-228600" lvl="0" marL="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</a:pPr>
            <a:r>
              <a:rPr lang="en-ID"/>
              <a:t>Train : Test</a:t>
            </a:r>
            <a:endParaRPr sz="1600"/>
          </a:p>
        </p:txBody>
      </p:sp>
      <p:sp>
        <p:nvSpPr>
          <p:cNvPr id="1049130" name="Google Shape;1322;g19dcec343aa_17_0"/>
          <p:cNvSpPr txBox="1">
            <a:spLocks noGrp="1"/>
          </p:cNvSpPr>
          <p:nvPr>
            <p:ph type="subTitle" idx="6"/>
          </p:nvPr>
        </p:nvSpPr>
        <p:spPr>
          <a:xfrm>
            <a:off x="6599783" y="2530284"/>
            <a:ext cx="2141333" cy="630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3700"/>
              <a:buNone/>
            </a:pPr>
            <a:r>
              <a:rPr sz="2100" lang="en-ID">
                <a:solidFill>
                  <a:srgbClr val="0070C0"/>
                </a:solidFill>
              </a:rPr>
              <a:t>Transforming</a:t>
            </a:r>
            <a:endParaRPr sz="2100">
              <a:solidFill>
                <a:srgbClr val="0070C0"/>
              </a:solidFill>
            </a:endParaRPr>
          </a:p>
        </p:txBody>
      </p:sp>
      <p:sp>
        <p:nvSpPr>
          <p:cNvPr id="1049131" name="Google Shape;1323;g19dcec343aa_17_0"/>
          <p:cNvSpPr/>
          <p:nvPr/>
        </p:nvSpPr>
        <p:spPr>
          <a:xfrm>
            <a:off x="881251" y="1687584"/>
            <a:ext cx="372714" cy="372714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2" name="Google Shape;1324;g19dcec343aa_17_0"/>
          <p:cNvSpPr/>
          <p:nvPr/>
        </p:nvSpPr>
        <p:spPr>
          <a:xfrm>
            <a:off x="8384975" y="1972432"/>
            <a:ext cx="284400" cy="284400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3" name="Google Shape;1325;g19dcec343aa_17_0"/>
          <p:cNvSpPr/>
          <p:nvPr/>
        </p:nvSpPr>
        <p:spPr>
          <a:xfrm>
            <a:off x="5385404" y="4546843"/>
            <a:ext cx="130500" cy="130500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4" name="Google Shape;1326;g19dcec343aa_17_0"/>
          <p:cNvSpPr/>
          <p:nvPr/>
        </p:nvSpPr>
        <p:spPr>
          <a:xfrm>
            <a:off x="5604271" y="4194677"/>
            <a:ext cx="362700" cy="362700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5" name="Google Shape;1327;g19dcec343aa_17_0"/>
          <p:cNvSpPr/>
          <p:nvPr/>
        </p:nvSpPr>
        <p:spPr>
          <a:xfrm>
            <a:off x="1427378" y="1883224"/>
            <a:ext cx="130500" cy="130500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6" name="Google Shape;1328;g19dcec343aa_17_0"/>
          <p:cNvSpPr/>
          <p:nvPr/>
        </p:nvSpPr>
        <p:spPr>
          <a:xfrm>
            <a:off x="5134252" y="1980105"/>
            <a:ext cx="130500" cy="130500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7" name="Google Shape;1329;g19dcec343aa_17_0"/>
          <p:cNvSpPr/>
          <p:nvPr/>
        </p:nvSpPr>
        <p:spPr>
          <a:xfrm>
            <a:off x="9527871" y="2060298"/>
            <a:ext cx="2551895" cy="2552352"/>
          </a:xfrm>
          <a:prstGeom prst="ellipse"/>
          <a:solidFill>
            <a:srgbClr val="D8E2F3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9138" name="Google Shape;1330;g19dcec343aa_17_0"/>
          <p:cNvSpPr txBox="1"/>
          <p:nvPr/>
        </p:nvSpPr>
        <p:spPr>
          <a:xfrm>
            <a:off x="9663525" y="3150927"/>
            <a:ext cx="2280600" cy="9114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63238"/>
              </a:buClr>
              <a:buSzPts val="1500"/>
              <a:buFont typeface="Arial"/>
              <a:buNone/>
            </a:pPr>
            <a:r>
              <a:rPr sz="1600" lang="en-ID">
                <a:solidFill>
                  <a:srgbClr val="263238"/>
                </a:solidFill>
                <a:latin typeface="Raleway"/>
                <a:ea typeface="Raleway"/>
                <a:cs typeface="Raleway"/>
                <a:sym typeface="Raleway"/>
              </a:rPr>
              <a:t>Robust Scaler</a:t>
            </a:r>
            <a:endParaRPr sz="1600">
              <a:solidFill>
                <a:srgbClr val="263238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ctr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sz="1600" lang="en-ID">
                <a:solidFill>
                  <a:srgbClr val="263238"/>
                </a:solidFill>
                <a:latin typeface="Raleway"/>
                <a:ea typeface="Raleway"/>
                <a:cs typeface="Raleway"/>
                <a:sym typeface="Raleway"/>
              </a:rPr>
              <a:t>Standard Scale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r</a:t>
            </a:r>
            <a:endParaRPr sz="21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139" name="Google Shape;1331;g19dcec343aa_17_0"/>
          <p:cNvSpPr txBox="1"/>
          <p:nvPr/>
        </p:nvSpPr>
        <p:spPr>
          <a:xfrm>
            <a:off x="9261180" y="2566922"/>
            <a:ext cx="3162900" cy="444087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3700"/>
              <a:buFont typeface="Arial"/>
              <a:buNone/>
            </a:pPr>
            <a:r>
              <a:rPr sz="1800" lang="en-ID">
                <a:solidFill>
                  <a:srgbClr val="0070C0"/>
                </a:solidFill>
                <a:latin typeface="Fredoka One"/>
                <a:ea typeface="Fredoka One"/>
                <a:cs typeface="Fredoka One"/>
                <a:sym typeface="Fredoka One"/>
              </a:rPr>
              <a:t>Feature Encoding</a:t>
            </a:r>
          </a:p>
        </p:txBody>
      </p:sp>
      <p:grpSp>
        <p:nvGrpSpPr>
          <p:cNvPr id="278" name="Google Shape;1332;g19dcec343aa_17_0"/>
          <p:cNvGrpSpPr/>
          <p:nvPr/>
        </p:nvGrpSpPr>
        <p:grpSpPr>
          <a:xfrm flipH="1">
            <a:off x="637501" y="5426334"/>
            <a:ext cx="743250" cy="1428269"/>
            <a:chOff x="4002401" y="6360650"/>
            <a:chExt cx="930575" cy="1788242"/>
          </a:xfrm>
        </p:grpSpPr>
        <p:sp>
          <p:nvSpPr>
            <p:cNvPr id="1049140" name="Google Shape;1333;g19dcec343aa_17_0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1" name="Google Shape;1334;g19dcec343aa_17_0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2" name="Google Shape;1335;g19dcec343aa_17_0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3" name="Google Shape;1336;g19dcec343aa_17_0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4" name="Google Shape;1337;g19dcec343aa_17_0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5" name="Google Shape;1338;g19dcec343aa_17_0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6" name="Google Shape;1339;g19dcec343aa_17_0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9" name="Google Shape;1340;g19dcec343aa_17_0"/>
          <p:cNvGrpSpPr/>
          <p:nvPr/>
        </p:nvGrpSpPr>
        <p:grpSpPr>
          <a:xfrm>
            <a:off x="10832180" y="5703982"/>
            <a:ext cx="890783" cy="1193594"/>
            <a:chOff x="122038" y="7256930"/>
            <a:chExt cx="668104" cy="895218"/>
          </a:xfrm>
        </p:grpSpPr>
        <p:sp>
          <p:nvSpPr>
            <p:cNvPr id="1049147" name="Google Shape;1341;g19dcec343aa_17_0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8" name="Google Shape;1342;g19dcec343aa_17_0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49" name="Google Shape;1343;g19dcec343aa_17_0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50" name="Google Shape;1344;g19dcec343aa_17_0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51" name="Google Shape;1345;g19dcec343aa_17_0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52" name="Google Shape;1346;g19dcec343aa_17_0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23" presetSubtype="16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7"/>
                                        <p:tgtEl>
                                          <p:spTgt spid="1049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8"/>
                                        <p:tgtEl>
                                          <p:spTgt spid="1049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9" nodeType="withEffect" presetClass="entr" presetID="23" presetSubtype="16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1"/>
                                        <p:tgtEl>
                                          <p:spTgt spid="1049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2"/>
                                        <p:tgtEl>
                                          <p:spTgt spid="1049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3" nodeType="withEffect" presetClass="entr" presetID="23" presetSubtype="16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5"/>
                                        <p:tgtEl>
                                          <p:spTgt spid="1049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6"/>
                                        <p:tgtEl>
                                          <p:spTgt spid="1049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23" presetSubtype="16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9"/>
                                        <p:tgtEl>
                                          <p:spTgt spid="1049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20"/>
                                        <p:tgtEl>
                                          <p:spTgt spid="1049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23" presetSubtype="16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3"/>
                                        <p:tgtEl>
                                          <p:spTgt spid="1049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24"/>
                                        <p:tgtEl>
                                          <p:spTgt spid="1049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5" nodeType="withEffect" presetClass="entr" presetID="23" presetSubtype="16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7"/>
                                        <p:tgtEl>
                                          <p:spTgt spid="10491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28"/>
                                        <p:tgtEl>
                                          <p:spTgt spid="10491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23" presetSubtype="16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31"/>
                                        <p:tgtEl>
                                          <p:spTgt spid="10491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32"/>
                                        <p:tgtEl>
                                          <p:spTgt spid="10491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33" nodeType="withEffect" presetClass="entr" presetID="23" presetSubtype="16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dur="1" fill="hold" id="3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35"/>
                                        <p:tgtEl>
                                          <p:spTgt spid="10491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36"/>
                                        <p:tgtEl>
                                          <p:spTgt spid="10491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7">
                      <p:stCondLst>
                        <p:cond delay="indefinite"/>
                      </p:stCondLst>
                      <p:childTnLst>
                        <p:par>
                          <p:cTn fill="hold" id="38">
                            <p:stCondLst>
                              <p:cond delay="0"/>
                            </p:stCondLst>
                            <p:childTnLst>
                              <p:par>
                                <p:cTn fill="hold" id="39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1"/>
                                        <p:tgtEl>
                                          <p:spTgt spid="31457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2" nodeType="withEffect" presetClass="entr" presetID="23" presetSubtype="16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dur="1" fill="hold" id="4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44"/>
                                        <p:tgtEl>
                                          <p:spTgt spid="1049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45"/>
                                        <p:tgtEl>
                                          <p:spTgt spid="1049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46" nodeType="withEffect" presetClass="entr" presetID="23" presetSubtype="16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dur="1" fill="hold" id="4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48"/>
                                        <p:tgtEl>
                                          <p:spTgt spid="1049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49"/>
                                        <p:tgtEl>
                                          <p:spTgt spid="1049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50" nodeType="withEffect" presetClass="entr" presetID="23" presetSubtype="16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dur="1" fill="hold" id="5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52"/>
                                        <p:tgtEl>
                                          <p:spTgt spid="1049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53"/>
                                        <p:tgtEl>
                                          <p:spTgt spid="1049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54" nodeType="withEffect" presetClass="entr" presetID="23" presetSubtype="16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5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56"/>
                                        <p:tgtEl>
                                          <p:spTgt spid="1049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57"/>
                                        <p:tgtEl>
                                          <p:spTgt spid="1049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58" nodeType="withEffect" presetClass="entr" presetID="23" presetSubtype="16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5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60"/>
                                        <p:tgtEl>
                                          <p:spTgt spid="1049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61"/>
                                        <p:tgtEl>
                                          <p:spTgt spid="1049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62" nodeType="withEffect" presetClass="entr" presetID="23" presetSubtype="16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6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64"/>
                                        <p:tgtEl>
                                          <p:spTgt spid="1049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65"/>
                                        <p:tgtEl>
                                          <p:spTgt spid="1049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66" nodeType="withEffect" presetClass="entr" presetID="23" presetSubtype="16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6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68"/>
                                        <p:tgtEl>
                                          <p:spTgt spid="1049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69"/>
                                        <p:tgtEl>
                                          <p:spTgt spid="1049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70" nodeType="withEffect" presetClass="entr" presetID="23" presetSubtype="16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7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72"/>
                                        <p:tgtEl>
                                          <p:spTgt spid="1049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73"/>
                                        <p:tgtEl>
                                          <p:spTgt spid="1049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74">
                      <p:stCondLst>
                        <p:cond delay="indefinite"/>
                      </p:stCondLst>
                      <p:childTnLst>
                        <p:par>
                          <p:cTn fill="hold" id="75">
                            <p:stCondLst>
                              <p:cond delay="0"/>
                            </p:stCondLst>
                            <p:childTnLst>
                              <p:par>
                                <p:cTn fill="hold" id="76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8"/>
                                        <p:tgtEl>
                                          <p:spTgt spid="3145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9" nodeType="withEffect" presetClass="entr" presetID="23" presetSubtype="16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81"/>
                                        <p:tgtEl>
                                          <p:spTgt spid="1049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82"/>
                                        <p:tgtEl>
                                          <p:spTgt spid="1049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3" nodeType="withEffect" presetClass="entr" presetID="23" presetSubtype="16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dur="1" fill="hold" id="8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85"/>
                                        <p:tgtEl>
                                          <p:spTgt spid="1049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86"/>
                                        <p:tgtEl>
                                          <p:spTgt spid="1049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7" nodeType="withEffect" presetClass="entr" presetID="23" presetSubtype="16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dur="1" fill="hold" id="8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89"/>
                                        <p:tgtEl>
                                          <p:spTgt spid="1049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90"/>
                                        <p:tgtEl>
                                          <p:spTgt spid="1049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91" nodeType="withEffect" presetClass="entr" presetID="23" presetSubtype="16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dur="1" fill="hold" id="9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93"/>
                                        <p:tgtEl>
                                          <p:spTgt spid="1049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94"/>
                                        <p:tgtEl>
                                          <p:spTgt spid="1049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95" nodeType="withEffect" presetClass="entr" presetID="23" presetSubtype="16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dur="1" fill="hold" id="9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97"/>
                                        <p:tgtEl>
                                          <p:spTgt spid="10491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98"/>
                                        <p:tgtEl>
                                          <p:spTgt spid="10491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99">
                      <p:stCondLst>
                        <p:cond delay="indefinite"/>
                      </p:stCondLst>
                      <p:childTnLst>
                        <p:par>
                          <p:cTn fill="hold" id="100">
                            <p:stCondLst>
                              <p:cond delay="0"/>
                            </p:stCondLst>
                            <p:childTnLst>
                              <p:par>
                                <p:cTn fill="hold" id="101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3"/>
                                        <p:tgtEl>
                                          <p:spTgt spid="31457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04" nodeType="withEffect" presetClass="entr" presetID="23" presetSubtype="16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10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06"/>
                                        <p:tgtEl>
                                          <p:spTgt spid="1049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07"/>
                                        <p:tgtEl>
                                          <p:spTgt spid="1049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08" nodeType="withEffect" presetClass="entr" presetID="23" presetSubtype="16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10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10"/>
                                        <p:tgtEl>
                                          <p:spTgt spid="1049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11"/>
                                        <p:tgtEl>
                                          <p:spTgt spid="1049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2" nodeType="withEffect" presetClass="entr" presetID="23" presetSubtype="16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dur="1" fill="hold" id="11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14"/>
                                        <p:tgtEl>
                                          <p:spTgt spid="1049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115"/>
                                        <p:tgtEl>
                                          <p:spTgt spid="1049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82" name="Shape 1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155" name="Google Shape;1351;g191abe3b490_12_3405"/>
          <p:cNvSpPr txBox="1">
            <a:spLocks noGrp="1"/>
          </p:cNvSpPr>
          <p:nvPr>
            <p:ph type="title"/>
          </p:nvPr>
        </p:nvSpPr>
        <p:spPr>
          <a:xfrm>
            <a:off x="1016148" y="2077445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</a:pPr>
            <a:r>
              <a:rPr sz="5900" lang="en-ID"/>
              <a:t>Predict Churn</a:t>
            </a:r>
            <a:endParaRPr sz="5900"/>
          </a:p>
        </p:txBody>
      </p:sp>
      <p:sp>
        <p:nvSpPr>
          <p:cNvPr id="1049156" name="Google Shape;1352;g191abe3b490_12_3405"/>
          <p:cNvSpPr txBox="1">
            <a:spLocks noGrp="1"/>
          </p:cNvSpPr>
          <p:nvPr>
            <p:ph type="subTitle" idx="1"/>
          </p:nvPr>
        </p:nvSpPr>
        <p:spPr>
          <a:xfrm>
            <a:off x="1147879" y="3794073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Selection Models &amp; Cross Validation, Handling Imbalance, </a:t>
            </a:r>
          </a:p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Hyperparameter Tuning, Feature Importance with SHAP</a:t>
            </a:r>
          </a:p>
        </p:txBody>
      </p:sp>
      <p:grpSp>
        <p:nvGrpSpPr>
          <p:cNvPr id="283" name="Google Shape;1353;g191abe3b490_12_3405"/>
          <p:cNvGrpSpPr/>
          <p:nvPr/>
        </p:nvGrpSpPr>
        <p:grpSpPr>
          <a:xfrm>
            <a:off x="10422632" y="4130723"/>
            <a:ext cx="1169763" cy="2723341"/>
            <a:chOff x="731955" y="2811840"/>
            <a:chExt cx="564367" cy="1313910"/>
          </a:xfrm>
        </p:grpSpPr>
        <p:sp>
          <p:nvSpPr>
            <p:cNvPr id="1049157" name="Google Shape;1354;g191abe3b490_12_3405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58" name="Google Shape;1355;g191abe3b490_12_3405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59" name="Google Shape;1356;g191abe3b490_12_3405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0" name="Google Shape;1357;g191abe3b490_12_3405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1" name="Google Shape;1358;g191abe3b490_12_3405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2" name="Google Shape;1359;g191abe3b490_12_3405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3" name="Google Shape;1360;g191abe3b490_12_3405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4" name="Google Shape;1361;g191abe3b490_12_3405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5" name="Google Shape;1362;g191abe3b490_12_3405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6" name="Google Shape;1363;g191abe3b490_12_3405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7" name="Google Shape;1364;g191abe3b490_12_3405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8" name="Google Shape;1365;g191abe3b490_12_3405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69" name="Google Shape;1366;g191abe3b490_12_3405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0" name="Google Shape;1367;g191abe3b490_12_3405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1" name="Google Shape;1368;g191abe3b490_12_3405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2" name="Google Shape;1369;g191abe3b490_12_3405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3" name="Google Shape;1370;g191abe3b490_12_3405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4" name="Google Shape;1371;g191abe3b490_12_340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5" name="Google Shape;1372;g191abe3b490_12_340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6" name="Google Shape;1373;g191abe3b490_12_340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7" name="Google Shape;1374;g191abe3b490_12_340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8" name="Google Shape;1375;g191abe3b490_12_340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79" name="Google Shape;1376;g191abe3b490_12_340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0" name="Google Shape;1377;g191abe3b490_12_340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1" name="Google Shape;1378;g191abe3b490_12_340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2" name="Google Shape;1379;g191abe3b490_12_340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3" name="Google Shape;1380;g191abe3b490_12_340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4" name="Google Shape;1381;g191abe3b490_12_340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5" name="Google Shape;1382;g191abe3b490_12_340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6" name="Google Shape;1383;g191abe3b490_12_340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84" name="Google Shape;1384;g191abe3b490_12_3405"/>
          <p:cNvGrpSpPr/>
          <p:nvPr/>
        </p:nvGrpSpPr>
        <p:grpSpPr>
          <a:xfrm flipH="1">
            <a:off x="845604" y="5633289"/>
            <a:ext cx="735967" cy="1220783"/>
            <a:chOff x="731955" y="3388996"/>
            <a:chExt cx="355077" cy="588982"/>
          </a:xfrm>
        </p:grpSpPr>
        <p:sp>
          <p:nvSpPr>
            <p:cNvPr id="1049187" name="Google Shape;1385;g191abe3b490_12_340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8" name="Google Shape;1386;g191abe3b490_12_340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89" name="Google Shape;1387;g191abe3b490_12_340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0" name="Google Shape;1388;g191abe3b490_12_340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1" name="Google Shape;1389;g191abe3b490_12_340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2" name="Google Shape;1390;g191abe3b490_12_340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3" name="Google Shape;1391;g191abe3b490_12_340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4" name="Google Shape;1392;g191abe3b490_12_340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5" name="Google Shape;1393;g191abe3b490_12_340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6" name="Google Shape;1394;g191abe3b490_12_340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7" name="Google Shape;1395;g191abe3b490_12_340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8" name="Google Shape;1396;g191abe3b490_12_340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199" name="Google Shape;1397;g191abe3b490_12_340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87" name="Shape 1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02" name="Google Shape;1402;g199c61c64ac_6_447"/>
          <p:cNvSpPr txBox="1">
            <a:spLocks noGrp="1"/>
          </p:cNvSpPr>
          <p:nvPr>
            <p:ph type="title"/>
          </p:nvPr>
        </p:nvSpPr>
        <p:spPr>
          <a:xfrm>
            <a:off x="0" y="482301"/>
            <a:ext cx="12192000" cy="725637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6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Model Selection </a:t>
            </a:r>
            <a:r>
              <a:rPr sz="36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&amp;</a:t>
            </a:r>
            <a:r>
              <a:rPr b="0" cap="none" sz="36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 Cross-Validation</a:t>
            </a:r>
            <a:endParaRPr b="0" cap="none" sz="3600" i="0" strike="noStrike" u="none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288" name="Google Shape;1403;g199c61c64ac_6_447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203" name="Google Shape;1404;g199c61c64ac_6_44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4" name="Google Shape;1405;g199c61c64ac_6_44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5" name="Google Shape;1406;g199c61c64ac_6_44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6" name="Google Shape;1407;g199c61c64ac_6_44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7" name="Google Shape;1408;g199c61c64ac_6_44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8" name="Google Shape;1409;g199c61c64ac_6_44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09" name="Google Shape;1410;g199c61c64ac_6_44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0" name="Google Shape;1411;g199c61c64ac_6_44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1" name="Google Shape;1412;g199c61c64ac_6_44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2" name="Google Shape;1413;g199c61c64ac_6_44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3" name="Google Shape;1414;g199c61c64ac_6_44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4" name="Google Shape;1415;g199c61c64ac_6_44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215" name="Google Shape;1416;g199c61c64ac_6_447"/>
          <p:cNvSpPr txBox="1"/>
          <p:nvPr/>
        </p:nvSpPr>
        <p:spPr>
          <a:xfrm>
            <a:off x="1094684" y="4881797"/>
            <a:ext cx="4834500" cy="630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D3D3D"/>
              </a:buClr>
              <a:buSzPts val="1900"/>
              <a:buFont typeface="Raleway"/>
              <a:buNone/>
            </a:pPr>
            <a:r>
              <a:rPr b="1" cap="none" sz="19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NB : Due to an imbalance dataset</a:t>
            </a:r>
            <a:endParaRPr sz="1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194305" name="Google Shape;1417;g199c61c64ac_6_447"/>
          <p:cNvGraphicFramePr>
            <a:graphicFrameLocks/>
          </p:cNvGraphicFramePr>
          <p:nvPr/>
        </p:nvGraphicFramePr>
        <p:xfrm>
          <a:off x="1061872" y="1871664"/>
          <a:ext cx="4544825" cy="3067134"/>
        </p:xfrm>
        <a:graphic>
          <a:graphicData uri="http://schemas.openxmlformats.org/drawingml/2006/table">
            <a:tbl>
              <a:tblPr>
                <a:noFill/>
                <a:tableStyleId>{6B3BA857-D764-47C9-ADD0-0DD76BD4FA48}</a:tableStyleId>
              </a:tblPr>
              <a:tblGrid>
                <a:gridCol w="1440600"/>
                <a:gridCol w="934175"/>
                <a:gridCol w="1219925"/>
                <a:gridCol w="950125"/>
              </a:tblGrid>
              <a:tr h="5349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b="1" cap="none" lang="en-ID" strike="noStrike" u="none">
                          <a:solidFill>
                            <a:schemeClr val="dk1"/>
                          </a:solidFill>
                        </a:rPr>
                        <a:t>Models</a:t>
                      </a:r>
                      <a:endParaRPr b="1"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b="1" cap="none" lang="en-ID" strike="noStrike" u="none">
                          <a:solidFill>
                            <a:schemeClr val="dk1"/>
                          </a:solidFill>
                        </a:rPr>
                        <a:t>Recall</a:t>
                      </a:r>
                      <a:endParaRPr b="1"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b="1" cap="none" lang="en-ID" strike="noStrike" u="none">
                          <a:solidFill>
                            <a:schemeClr val="dk1"/>
                          </a:solidFill>
                        </a:rPr>
                        <a:t>C</a:t>
                      </a:r>
                      <a:r>
                        <a:rPr b="1" lang="en-ID"/>
                        <a:t>ross Validation</a:t>
                      </a:r>
                      <a:endParaRPr b="1"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b="1" cap="none" lang="en-ID" strike="noStrike" u="none">
                          <a:solidFill>
                            <a:schemeClr val="dk1"/>
                          </a:solidFill>
                        </a:rPr>
                        <a:t>Standar Deviasi</a:t>
                      </a:r>
                      <a:endParaRPr b="1"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 anchor="ctr"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91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Decision Tree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863095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803951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038707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</a:tr>
              <a:tr h="491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Catboost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809524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780246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047106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/>
                </a:tc>
              </a:tr>
              <a:tr h="491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Random Forest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797619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760799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048173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/>
                </a:tc>
              </a:tr>
              <a:tr h="491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Xgboost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553571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609570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066454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/>
                </a:tc>
              </a:tr>
              <a:tr h="5349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Logistic Regression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476190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530575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Calibri"/>
                        <a:buNone/>
                      </a:pPr>
                      <a:r>
                        <a:rPr cap="none" lang="en-ID" strike="noStrike" u="none">
                          <a:solidFill>
                            <a:schemeClr val="dk1"/>
                          </a:solidFill>
                        </a:rPr>
                        <a:t>0.051384</a:t>
                      </a:r>
                      <a:endParaRPr cap="none" strike="noStrike" u="none">
                        <a:solidFill>
                          <a:schemeClr val="dk1"/>
                        </a:solidFill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76200" marR="76200" marT="38100" marB="38100"/>
                </a:tc>
              </a:tr>
            </a:tbl>
          </a:graphicData>
        </a:graphic>
      </p:graphicFrame>
      <p:pic>
        <p:nvPicPr>
          <p:cNvPr id="2097177" name="Google Shape;1418;g199c61c64ac_6_44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6372225" y="1651651"/>
            <a:ext cx="4544790" cy="4118325"/>
          </a:xfrm>
          <a:prstGeom prst="rect"/>
          <a:noFill/>
          <a:ln>
            <a:noFill/>
          </a:ln>
        </p:spPr>
      </p:pic>
      <p:sp>
        <p:nvSpPr>
          <p:cNvPr id="1049216" name="Google Shape;1419;g199c61c64ac_6_447"/>
          <p:cNvSpPr/>
          <p:nvPr/>
        </p:nvSpPr>
        <p:spPr>
          <a:xfrm>
            <a:off x="1061875" y="2406600"/>
            <a:ext cx="4610100" cy="8406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9" name="Google Shape;1420;g199c61c64ac_6_447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217" name="Google Shape;1421;g199c61c64ac_6_44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8" name="Google Shape;1422;g199c61c64ac_6_44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19" name="Google Shape;1423;g199c61c64ac_6_44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0" name="Google Shape;1424;g199c61c64ac_6_44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1" name="Google Shape;1425;g199c61c64ac_6_44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2" name="Google Shape;1426;g199c61c64ac_6_44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104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8">
                            <p:stCondLst>
                              <p:cond delay="5000"/>
                            </p:stCondLst>
                            <p:childTnLst>
                              <p:par>
                                <p:cTn fill="hold" id="9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800" id="11"/>
                                        <p:tgtEl>
                                          <p:spTgt spid="2097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92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1431;g199c61c64ac_6_475"/>
          <p:cNvGrpSpPr/>
          <p:nvPr/>
        </p:nvGrpSpPr>
        <p:grpSpPr>
          <a:xfrm>
            <a:off x="138038" y="2427765"/>
            <a:ext cx="890783" cy="1193594"/>
            <a:chOff x="122038" y="7256930"/>
            <a:chExt cx="668104" cy="895218"/>
          </a:xfrm>
        </p:grpSpPr>
        <p:sp>
          <p:nvSpPr>
            <p:cNvPr id="1049225" name="Google Shape;1432;g199c61c64ac_6_475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6" name="Google Shape;1433;g199c61c64ac_6_475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7" name="Google Shape;1434;g199c61c64ac_6_475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8" name="Google Shape;1435;g199c61c64ac_6_475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29" name="Google Shape;1436;g199c61c64ac_6_475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30" name="Google Shape;1437;g199c61c64ac_6_475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231" name="Google Shape;1438;g199c61c64ac_6_475"/>
          <p:cNvSpPr txBox="1"/>
          <p:nvPr/>
        </p:nvSpPr>
        <p:spPr>
          <a:xfrm>
            <a:off x="221364" y="1136458"/>
            <a:ext cx="4834500" cy="630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D3D3D"/>
              </a:buClr>
              <a:buSzPts val="1900"/>
              <a:buFont typeface="Raleway"/>
              <a:buNone/>
            </a:pPr>
            <a:r>
              <a:rPr b="1" cap="none" sz="19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NB : Due to imbalance dataset</a:t>
            </a:r>
            <a:endParaRPr sz="19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194306" name="Google Shape;1439;g199c61c64ac_6_475"/>
          <p:cNvGraphicFramePr>
            <a:graphicFrameLocks/>
          </p:cNvGraphicFramePr>
          <p:nvPr/>
        </p:nvGraphicFramePr>
        <p:xfrm>
          <a:off x="6170089" y="1971909"/>
          <a:ext cx="5438475" cy="1664525"/>
        </p:xfrm>
        <a:graphic>
          <a:graphicData uri="http://schemas.openxmlformats.org/drawingml/2006/table">
            <a:tbl>
              <a:tblPr>
                <a:noFill/>
                <a:tableStyleId>{72DAC2A5-0A82-473D-91D7-F708F1B18EEC}</a:tableStyleId>
              </a:tblPr>
              <a:tblGrid>
                <a:gridCol w="1346625"/>
                <a:gridCol w="1080775"/>
                <a:gridCol w="1544875"/>
                <a:gridCol w="1466200"/>
              </a:tblGrid>
              <a:tr h="587475">
                <a:tc>
                  <a:txBody>
                    <a:bodyPr/>
                    <a:p>
                      <a:pPr algn="ctr" indent="0" lvl="0" marL="0" marR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Without</a:t>
                      </a:r>
                      <a:endParaRPr b="1"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Undersampling</a:t>
                      </a:r>
                      <a:endParaRPr b="1"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Oversampling</a:t>
                      </a:r>
                      <a:endParaRPr b="1"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</a:tr>
              <a:tr h="5385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Train Recall</a:t>
                      </a:r>
                      <a:endParaRPr b="1"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953360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996913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999826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</a:tr>
              <a:tr h="5385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Test Recall</a:t>
                      </a:r>
                      <a:endParaRPr b="1"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784038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928990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cap="none" sz="1600" lang="en-ID" strike="noStrike" u="none">
                          <a:solidFill>
                            <a:schemeClr val="dk1"/>
                          </a:solidFill>
                          <a:highlight>
                            <a:schemeClr val="lt1"/>
                          </a:highlight>
                        </a:rPr>
                        <a:t>0.915144</a:t>
                      </a:r>
                      <a:endParaRPr cap="none" sz="1600" strike="noStrike" u="none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/>
                </a:tc>
              </a:tr>
            </a:tbl>
          </a:graphicData>
        </a:graphic>
      </p:graphicFrame>
      <p:graphicFrame>
        <p:nvGraphicFramePr>
          <p:cNvPr id="4194307" name="Google Shape;1440;g199c61c64ac_6_475"/>
          <p:cNvGraphicFramePr>
            <a:graphicFrameLocks/>
          </p:cNvGraphicFramePr>
          <p:nvPr/>
        </p:nvGraphicFramePr>
        <p:xfrm>
          <a:off x="417589" y="3629102"/>
          <a:ext cx="5752500" cy="1664525"/>
        </p:xfrm>
        <a:graphic>
          <a:graphicData uri="http://schemas.openxmlformats.org/drawingml/2006/table">
            <a:tbl>
              <a:tblPr>
                <a:noFill/>
                <a:tableStyleId>{72DAC2A5-0A82-473D-91D7-F708F1B18EEC}</a:tableStyleId>
              </a:tblPr>
              <a:tblGrid>
                <a:gridCol w="1393175"/>
                <a:gridCol w="1160500"/>
                <a:gridCol w="1677300"/>
                <a:gridCol w="1521525"/>
              </a:tblGrid>
              <a:tr h="444275">
                <a:tc>
                  <a:txBody>
                    <a:bodyPr/>
                    <a:p>
                      <a:pPr algn="ctr" indent="0" lvl="0" marL="0" marR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highlight>
                            <a:srgbClr val="FFFFFF"/>
                          </a:highlight>
                        </a:rPr>
                        <a:t>Without</a:t>
                      </a:r>
                      <a:endParaRPr b="1"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highlight>
                            <a:srgbClr val="FFFFFF"/>
                          </a:highlight>
                        </a:rPr>
                        <a:t>Undersampling</a:t>
                      </a:r>
                      <a:endParaRPr b="1"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highlight>
                            <a:srgbClr val="FFFFFF"/>
                          </a:highlight>
                        </a:rPr>
                        <a:t>Oversampling</a:t>
                      </a:r>
                      <a:endParaRPr b="1"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</a:tr>
              <a:tr h="6101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highlight>
                            <a:srgbClr val="FFFFFF"/>
                          </a:highlight>
                        </a:rPr>
                        <a:t>Train Recall</a:t>
                      </a:r>
                      <a:endParaRPr b="1"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1.000000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1.000000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1.000000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</a:tr>
              <a:tr h="6101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b="1" cap="none" sz="1600" lang="en-ID" strike="noStrike" u="none">
                          <a:highlight>
                            <a:srgbClr val="FFFFFF"/>
                          </a:highlight>
                        </a:rPr>
                        <a:t>Test Recall</a:t>
                      </a:r>
                      <a:endParaRPr b="1" cap="none" sz="16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0.836538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0.881202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cap="none" sz="1800" lang="en-ID" strike="noStrike" u="none">
                          <a:highlight>
                            <a:srgbClr val="FFFFFF"/>
                          </a:highlight>
                        </a:rPr>
                        <a:t>0.819519</a:t>
                      </a:r>
                      <a:endParaRPr cap="none" sz="1800" strike="noStrike" u="none">
                        <a:highlight>
                          <a:srgbClr val="FFFFFF"/>
                        </a:highlight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/>
                </a:tc>
              </a:tr>
            </a:tbl>
          </a:graphicData>
        </a:graphic>
      </p:graphicFrame>
      <p:sp>
        <p:nvSpPr>
          <p:cNvPr id="1049232" name="Google Shape;1441;g199c61c64ac_6_475"/>
          <p:cNvSpPr txBox="1"/>
          <p:nvPr/>
        </p:nvSpPr>
        <p:spPr>
          <a:xfrm>
            <a:off x="0" y="482301"/>
            <a:ext cx="12192000" cy="725637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36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Handling Imbalance Target</a:t>
            </a:r>
          </a:p>
        </p:txBody>
      </p:sp>
      <p:cxnSp>
        <p:nvCxnSpPr>
          <p:cNvPr id="3145758" name="Google Shape;1442;g199c61c64ac_6_475"/>
          <p:cNvCxnSpPr>
            <a:cxnSpLocks/>
          </p:cNvCxnSpPr>
          <p:nvPr/>
        </p:nvCxnSpPr>
        <p:spPr>
          <a:xfrm>
            <a:off x="1750979" y="4070263"/>
            <a:ext cx="4419110" cy="0"/>
          </a:xfrm>
          <a:prstGeom prst="straightConnector1"/>
          <a:noFill/>
          <a:ln w="19050" cap="flat" cmpd="sng">
            <a:solidFill>
              <a:srgbClr val="8BA8DB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45759" name="Google Shape;1443;g199c61c64ac_6_475"/>
          <p:cNvCxnSpPr>
            <a:cxnSpLocks/>
          </p:cNvCxnSpPr>
          <p:nvPr/>
        </p:nvCxnSpPr>
        <p:spPr>
          <a:xfrm>
            <a:off x="7509753" y="2432773"/>
            <a:ext cx="4080171" cy="0"/>
          </a:xfrm>
          <a:prstGeom prst="straightConnector1"/>
          <a:noFill/>
          <a:ln w="19050" cap="flat" cmpd="sng">
            <a:solidFill>
              <a:srgbClr val="8BA8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233" name="Google Shape;1444;g199c61c64ac_6_475"/>
          <p:cNvSpPr/>
          <p:nvPr/>
        </p:nvSpPr>
        <p:spPr>
          <a:xfrm>
            <a:off x="1454983" y="3207156"/>
            <a:ext cx="3456029" cy="388419"/>
          </a:xfrm>
          <a:prstGeom prst="roundRect">
            <a:avLst>
              <a:gd name="adj" fmla="val 16667"/>
            </a:avLst>
          </a:prstGeom>
          <a:solidFill>
            <a:srgbClr val="E7ECEE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DECISION TREE</a:t>
            </a:r>
            <a:endParaRPr b="1" sz="1600">
              <a:solidFill>
                <a:srgbClr val="394A89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234" name="Google Shape;1445;g199c61c64ac_6_475"/>
          <p:cNvSpPr/>
          <p:nvPr/>
        </p:nvSpPr>
        <p:spPr>
          <a:xfrm>
            <a:off x="7326646" y="1572549"/>
            <a:ext cx="3456029" cy="388419"/>
          </a:xfrm>
          <a:prstGeom prst="roundRect">
            <a:avLst>
              <a:gd name="adj" fmla="val 16667"/>
            </a:avLst>
          </a:prstGeom>
          <a:solidFill>
            <a:srgbClr val="E7ECEE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atBoost</a:t>
            </a:r>
            <a:endParaRPr b="1" sz="1600">
              <a:solidFill>
                <a:srgbClr val="394A89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235" name="Google Shape;1446;g199c61c64ac_6_475"/>
          <p:cNvSpPr txBox="1"/>
          <p:nvPr/>
        </p:nvSpPr>
        <p:spPr>
          <a:xfrm>
            <a:off x="1454975" y="5403600"/>
            <a:ext cx="8975100" cy="646500"/>
          </a:xfrm>
          <a:prstGeom prst="rect"/>
          <a:solidFill>
            <a:schemeClr val="lt2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atboost </a:t>
            </a:r>
            <a:r>
              <a:rPr b="0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have </a:t>
            </a:r>
            <a:r>
              <a:rPr b="1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best fit </a:t>
            </a:r>
            <a:r>
              <a:rPr b="0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in </a:t>
            </a:r>
            <a:r>
              <a:rPr b="1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undersampling and oversampling</a:t>
            </a:r>
            <a:r>
              <a:rPr b="0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 But we choose </a:t>
            </a:r>
            <a:r>
              <a:rPr b="1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undersampling </a:t>
            </a:r>
            <a:r>
              <a:rPr b="0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because it has </a:t>
            </a:r>
            <a:r>
              <a:rPr b="1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gap (train-test) smaller than other</a:t>
            </a:r>
            <a:r>
              <a:rPr b="0" sz="1800" i="0" lang="en-ID" strike="noStrike" u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</a:t>
            </a:r>
            <a:endParaRPr b="0"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236" name="Google Shape;1447;g199c61c64ac_6_475"/>
          <p:cNvSpPr/>
          <p:nvPr/>
        </p:nvSpPr>
        <p:spPr>
          <a:xfrm>
            <a:off x="8582025" y="2007250"/>
            <a:ext cx="1543200" cy="15882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1448;g199c61c64ac_6_475"/>
          <p:cNvGrpSpPr/>
          <p:nvPr/>
        </p:nvGrpSpPr>
        <p:grpSpPr>
          <a:xfrm flipH="1">
            <a:off x="10570440" y="5005125"/>
            <a:ext cx="1359323" cy="1838946"/>
            <a:chOff x="3231057" y="5846468"/>
            <a:chExt cx="1701919" cy="2302424"/>
          </a:xfrm>
        </p:grpSpPr>
        <p:sp>
          <p:nvSpPr>
            <p:cNvPr id="1049237" name="Google Shape;1449;g199c61c64ac_6_475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38" name="Google Shape;1450;g199c61c64ac_6_475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39" name="Google Shape;1451;g199c61c64ac_6_475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0" name="Google Shape;1452;g199c61c64ac_6_475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1" name="Google Shape;1453;g199c61c64ac_6_475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2" name="Google Shape;1454;g199c61c64ac_6_475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3" name="Google Shape;1455;g199c61c64ac_6_475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4" name="Google Shape;1456;g199c61c64ac_6_475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5" name="Google Shape;1457;g199c61c64ac_6_475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6" name="Google Shape;1458;g199c61c64ac_6_475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7" name="Google Shape;1459;g199c61c64ac_6_475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48" name="Google Shape;1460;g199c61c64ac_6_475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10" presetSubtype="0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1049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49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1">
                            <p:stCondLst>
                              <p:cond delay="500"/>
                            </p:stCondLst>
                            <p:childTnLst>
                              <p:par>
                                <p:cTn fill="hold" id="12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4"/>
                                        <p:tgtEl>
                                          <p:spTgt spid="1049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" id="17"/>
                                        <p:tgtEl>
                                          <p:spTgt spid="1049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98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54" name="Google Shape;1466;g199c61c64ac_6_507"/>
          <p:cNvSpPr txBox="1"/>
          <p:nvPr/>
        </p:nvSpPr>
        <p:spPr>
          <a:xfrm>
            <a:off x="6181869" y="4124815"/>
            <a:ext cx="4963064" cy="1259485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Recall</a:t>
            </a:r>
            <a:r>
              <a:rPr b="0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 ; How many customers did we </a:t>
            </a:r>
            <a:r>
              <a:rPr b="1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correctly predict</a:t>
            </a:r>
            <a:r>
              <a:rPr b="0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 to take an interest with our product compared to all customers which are </a:t>
            </a:r>
            <a:r>
              <a:rPr b="1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truly churn</a:t>
            </a:r>
            <a:r>
              <a:rPr b="0" sz="1800" i="0" lang="en-ID" strike="noStrike" u="none">
                <a:solidFill>
                  <a:srgbClr val="3D3D3D"/>
                </a:solidFill>
                <a:latin typeface="Raleway"/>
                <a:ea typeface="Raleway"/>
                <a:cs typeface="Raleway"/>
                <a:sym typeface="Raleway"/>
              </a:rPr>
              <a:t>?</a:t>
            </a:r>
            <a:r>
              <a:rPr b="0" sz="1800" i="0" lang="en-ID" strike="noStrike" u="none">
                <a:solidFill>
                  <a:srgbClr val="3D3D3D"/>
                </a:solidFill>
                <a:highlight>
                  <a:srgbClr val="FFFF00"/>
                </a:highlight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b="1" sz="1800" i="0" lang="en-ID" strike="noStrike" u="none">
                <a:solidFill>
                  <a:srgbClr val="3D3D3D"/>
                </a:solidFill>
                <a:highlight>
                  <a:srgbClr val="FFFF00"/>
                </a:highlight>
                <a:latin typeface="Raleway"/>
                <a:ea typeface="Raleway"/>
                <a:cs typeface="Raleway"/>
                <a:sym typeface="Raleway"/>
              </a:rPr>
              <a:t>94%</a:t>
            </a:r>
            <a:endParaRPr b="0" sz="1800">
              <a:solidFill>
                <a:schemeClr val="dk1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255" name="Google Shape;1467;g199c61c64ac_6_507"/>
          <p:cNvSpPr txBox="1"/>
          <p:nvPr/>
        </p:nvSpPr>
        <p:spPr>
          <a:xfrm>
            <a:off x="-172708" y="404129"/>
            <a:ext cx="12485535" cy="683446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36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atBoost Classifier + Undersampling</a:t>
            </a:r>
            <a:endParaRPr sz="36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299" name="Google Shape;1468;g199c61c64ac_6_507"/>
          <p:cNvGrpSpPr/>
          <p:nvPr/>
        </p:nvGrpSpPr>
        <p:grpSpPr>
          <a:xfrm flipH="1">
            <a:off x="10570439" y="5005125"/>
            <a:ext cx="1359323" cy="1838946"/>
            <a:chOff x="3231057" y="5846468"/>
            <a:chExt cx="1701919" cy="2302424"/>
          </a:xfrm>
        </p:grpSpPr>
        <p:sp>
          <p:nvSpPr>
            <p:cNvPr id="1049256" name="Google Shape;1469;g199c61c64ac_6_50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57" name="Google Shape;1470;g199c61c64ac_6_50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58" name="Google Shape;1471;g199c61c64ac_6_50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59" name="Google Shape;1472;g199c61c64ac_6_50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0" name="Google Shape;1473;g199c61c64ac_6_50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1" name="Google Shape;1474;g199c61c64ac_6_50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2" name="Google Shape;1475;g199c61c64ac_6_50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3" name="Google Shape;1476;g199c61c64ac_6_50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4" name="Google Shape;1477;g199c61c64ac_6_50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5" name="Google Shape;1478;g199c61c64ac_6_50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6" name="Google Shape;1479;g199c61c64ac_6_50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67" name="Google Shape;1480;g199c61c64ac_6_50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8" name="Google Shape;1481;g199c61c64ac_6_50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0" y="1552573"/>
            <a:ext cx="5021200" cy="4408300"/>
          </a:xfrm>
          <a:prstGeom prst="rect"/>
          <a:noFill/>
          <a:ln>
            <a:noFill/>
          </a:ln>
        </p:spPr>
      </p:pic>
      <p:sp>
        <p:nvSpPr>
          <p:cNvPr id="1049268" name="Google Shape;1482;g199c61c64ac_6_507"/>
          <p:cNvSpPr txBox="1"/>
          <p:nvPr/>
        </p:nvSpPr>
        <p:spPr>
          <a:xfrm>
            <a:off x="4660707" y="1559201"/>
            <a:ext cx="7902300" cy="2326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classification_report before tuning: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    precision    recall  f1-score   support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0       0.99      0.91      0.95       800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1       0.68      0.94      0.79       1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accuracy                           0.91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macro avg       0.83      0.93      0.87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weighted avg       0.94      0.91      0.92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Courier New"/>
                <a:cs typeface="Courier New"/>
                <a:sym typeface="Courier New"/>
              </a:rPr>
              <a:t>Recall 0.9444444444444444</a:t>
            </a:r>
            <a:endParaRPr b="0" sz="1400">
              <a:solidFill>
                <a:schemeClr val="dk1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00" name="Google Shape;1483;g199c61c64ac_6_507"/>
          <p:cNvGrpSpPr/>
          <p:nvPr/>
        </p:nvGrpSpPr>
        <p:grpSpPr>
          <a:xfrm>
            <a:off x="383843" y="161790"/>
            <a:ext cx="1259757" cy="1470674"/>
            <a:chOff x="2059150" y="912750"/>
            <a:chExt cx="3531700" cy="4123000"/>
          </a:xfrm>
        </p:grpSpPr>
        <p:sp>
          <p:nvSpPr>
            <p:cNvPr id="1049269" name="Google Shape;1484;g199c61c64ac_6_507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0" name="Google Shape;1485;g199c61c64ac_6_507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1" name="Google Shape;1486;g199c61c64ac_6_507"/>
            <p:cNvSpPr/>
            <p:nvPr/>
          </p:nvSpPr>
          <p:spPr>
            <a:xfrm>
              <a:off x="5423200" y="4799975"/>
              <a:ext cx="167650" cy="101600"/>
            </a:xfrm>
            <a:custGeom>
              <a:avLst/>
              <a:ahLst/>
              <a:rect l="l" t="t" r="r" b="b"/>
              <a:pathLst>
                <a:path w="6706" h="4064" extrusionOk="0">
                  <a:moveTo>
                    <a:pt x="3595" y="1"/>
                  </a:moveTo>
                  <a:cubicBezTo>
                    <a:pt x="2794" y="1"/>
                    <a:pt x="2007" y="171"/>
                    <a:pt x="1302" y="524"/>
                  </a:cubicBezTo>
                  <a:cubicBezTo>
                    <a:pt x="668" y="824"/>
                    <a:pt x="234" y="1391"/>
                    <a:pt x="134" y="2058"/>
                  </a:cubicBezTo>
                  <a:cubicBezTo>
                    <a:pt x="1" y="2525"/>
                    <a:pt x="34" y="3059"/>
                    <a:pt x="268" y="3492"/>
                  </a:cubicBezTo>
                  <a:cubicBezTo>
                    <a:pt x="457" y="3844"/>
                    <a:pt x="843" y="4064"/>
                    <a:pt x="1231" y="4064"/>
                  </a:cubicBezTo>
                  <a:cubicBezTo>
                    <a:pt x="1322" y="4064"/>
                    <a:pt x="1413" y="4052"/>
                    <a:pt x="1502" y="4026"/>
                  </a:cubicBezTo>
                  <a:cubicBezTo>
                    <a:pt x="2002" y="3893"/>
                    <a:pt x="2236" y="3392"/>
                    <a:pt x="2669" y="3092"/>
                  </a:cubicBezTo>
                  <a:cubicBezTo>
                    <a:pt x="3101" y="2764"/>
                    <a:pt x="3633" y="2701"/>
                    <a:pt x="4180" y="2701"/>
                  </a:cubicBezTo>
                  <a:cubicBezTo>
                    <a:pt x="4523" y="2701"/>
                    <a:pt x="4871" y="2725"/>
                    <a:pt x="5205" y="2725"/>
                  </a:cubicBezTo>
                  <a:cubicBezTo>
                    <a:pt x="5251" y="2729"/>
                    <a:pt x="5298" y="2732"/>
                    <a:pt x="5344" y="2732"/>
                  </a:cubicBezTo>
                  <a:cubicBezTo>
                    <a:pt x="5664" y="2732"/>
                    <a:pt x="5977" y="2633"/>
                    <a:pt x="6239" y="2458"/>
                  </a:cubicBezTo>
                  <a:cubicBezTo>
                    <a:pt x="6706" y="2091"/>
                    <a:pt x="6639" y="1291"/>
                    <a:pt x="6239" y="824"/>
                  </a:cubicBezTo>
                  <a:cubicBezTo>
                    <a:pt x="5772" y="424"/>
                    <a:pt x="5205" y="157"/>
                    <a:pt x="4604" y="90"/>
                  </a:cubicBezTo>
                  <a:cubicBezTo>
                    <a:pt x="4269" y="31"/>
                    <a:pt x="3931" y="1"/>
                    <a:pt x="359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2" name="Google Shape;1487;g199c61c64ac_6_507"/>
            <p:cNvSpPr/>
            <p:nvPr/>
          </p:nvSpPr>
          <p:spPr>
            <a:xfrm>
              <a:off x="5173025" y="4544325"/>
              <a:ext cx="203500" cy="199775"/>
            </a:xfrm>
            <a:custGeom>
              <a:avLst/>
              <a:ahLst/>
              <a:rect l="l" t="t" r="r" b="b"/>
              <a:pathLst>
                <a:path w="8140" h="7991" extrusionOk="0">
                  <a:moveTo>
                    <a:pt x="1763" y="0"/>
                  </a:moveTo>
                  <a:cubicBezTo>
                    <a:pt x="1687" y="0"/>
                    <a:pt x="1611" y="3"/>
                    <a:pt x="1535" y="9"/>
                  </a:cubicBezTo>
                  <a:cubicBezTo>
                    <a:pt x="1035" y="9"/>
                    <a:pt x="601" y="276"/>
                    <a:pt x="334" y="709"/>
                  </a:cubicBezTo>
                  <a:cubicBezTo>
                    <a:pt x="1" y="1343"/>
                    <a:pt x="334" y="2110"/>
                    <a:pt x="668" y="2711"/>
                  </a:cubicBezTo>
                  <a:cubicBezTo>
                    <a:pt x="1268" y="3811"/>
                    <a:pt x="1969" y="4845"/>
                    <a:pt x="2736" y="5846"/>
                  </a:cubicBezTo>
                  <a:cubicBezTo>
                    <a:pt x="3336" y="6647"/>
                    <a:pt x="4037" y="7414"/>
                    <a:pt x="4971" y="7781"/>
                  </a:cubicBezTo>
                  <a:cubicBezTo>
                    <a:pt x="5347" y="7915"/>
                    <a:pt x="5729" y="7990"/>
                    <a:pt x="6083" y="7990"/>
                  </a:cubicBezTo>
                  <a:cubicBezTo>
                    <a:pt x="6609" y="7990"/>
                    <a:pt x="7074" y="7826"/>
                    <a:pt x="7373" y="7447"/>
                  </a:cubicBezTo>
                  <a:lnTo>
                    <a:pt x="7373" y="7447"/>
                  </a:lnTo>
                  <a:lnTo>
                    <a:pt x="7306" y="7547"/>
                  </a:lnTo>
                  <a:cubicBezTo>
                    <a:pt x="7940" y="6713"/>
                    <a:pt x="8140" y="5613"/>
                    <a:pt x="7806" y="4612"/>
                  </a:cubicBezTo>
                  <a:cubicBezTo>
                    <a:pt x="7439" y="3611"/>
                    <a:pt x="6839" y="2744"/>
                    <a:pt x="6038" y="2077"/>
                  </a:cubicBezTo>
                  <a:cubicBezTo>
                    <a:pt x="5138" y="1276"/>
                    <a:pt x="4070" y="642"/>
                    <a:pt x="2936" y="242"/>
                  </a:cubicBezTo>
                  <a:cubicBezTo>
                    <a:pt x="2545" y="74"/>
                    <a:pt x="2154" y="0"/>
                    <a:pt x="1763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3" name="Google Shape;1488;g199c61c64ac_6_507"/>
            <p:cNvSpPr/>
            <p:nvPr/>
          </p:nvSpPr>
          <p:spPr>
            <a:xfrm>
              <a:off x="5395700" y="4830575"/>
              <a:ext cx="115925" cy="202650"/>
            </a:xfrm>
            <a:custGeom>
              <a:avLst/>
              <a:ahLst/>
              <a:rect l="l" t="t" r="r" b="b"/>
              <a:pathLst>
                <a:path w="4637" h="8106" extrusionOk="0">
                  <a:moveTo>
                    <a:pt x="4203" y="0"/>
                  </a:moveTo>
                  <a:cubicBezTo>
                    <a:pt x="3836" y="34"/>
                    <a:pt x="3469" y="134"/>
                    <a:pt x="3136" y="300"/>
                  </a:cubicBezTo>
                  <a:cubicBezTo>
                    <a:pt x="2635" y="534"/>
                    <a:pt x="2202" y="867"/>
                    <a:pt x="1868" y="1301"/>
                  </a:cubicBezTo>
                  <a:cubicBezTo>
                    <a:pt x="1434" y="1835"/>
                    <a:pt x="1101" y="2435"/>
                    <a:pt x="867" y="3069"/>
                  </a:cubicBezTo>
                  <a:cubicBezTo>
                    <a:pt x="601" y="3669"/>
                    <a:pt x="434" y="4303"/>
                    <a:pt x="267" y="4970"/>
                  </a:cubicBezTo>
                  <a:cubicBezTo>
                    <a:pt x="167" y="5504"/>
                    <a:pt x="100" y="6038"/>
                    <a:pt x="67" y="6605"/>
                  </a:cubicBezTo>
                  <a:cubicBezTo>
                    <a:pt x="33" y="7072"/>
                    <a:pt x="33" y="7439"/>
                    <a:pt x="0" y="7706"/>
                  </a:cubicBezTo>
                  <a:cubicBezTo>
                    <a:pt x="0" y="7839"/>
                    <a:pt x="0" y="7973"/>
                    <a:pt x="33" y="8106"/>
                  </a:cubicBezTo>
                  <a:cubicBezTo>
                    <a:pt x="67" y="7973"/>
                    <a:pt x="100" y="7839"/>
                    <a:pt x="100" y="7706"/>
                  </a:cubicBezTo>
                  <a:cubicBezTo>
                    <a:pt x="134" y="7405"/>
                    <a:pt x="167" y="7039"/>
                    <a:pt x="200" y="6605"/>
                  </a:cubicBezTo>
                  <a:cubicBezTo>
                    <a:pt x="267" y="6071"/>
                    <a:pt x="334" y="5537"/>
                    <a:pt x="434" y="5004"/>
                  </a:cubicBezTo>
                  <a:cubicBezTo>
                    <a:pt x="601" y="4370"/>
                    <a:pt x="767" y="3736"/>
                    <a:pt x="1034" y="3102"/>
                  </a:cubicBezTo>
                  <a:cubicBezTo>
                    <a:pt x="1268" y="2502"/>
                    <a:pt x="1601" y="1935"/>
                    <a:pt x="2002" y="1401"/>
                  </a:cubicBezTo>
                  <a:cubicBezTo>
                    <a:pt x="2302" y="968"/>
                    <a:pt x="2735" y="634"/>
                    <a:pt x="3202" y="400"/>
                  </a:cubicBezTo>
                  <a:cubicBezTo>
                    <a:pt x="3536" y="234"/>
                    <a:pt x="3870" y="134"/>
                    <a:pt x="4236" y="67"/>
                  </a:cubicBezTo>
                  <a:cubicBezTo>
                    <a:pt x="4370" y="67"/>
                    <a:pt x="4503" y="34"/>
                    <a:pt x="46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4" name="Google Shape;1489;g199c61c64ac_6_507"/>
            <p:cNvSpPr/>
            <p:nvPr/>
          </p:nvSpPr>
          <p:spPr>
            <a:xfrm>
              <a:off x="5395700" y="4561200"/>
              <a:ext cx="53375" cy="451200"/>
            </a:xfrm>
            <a:custGeom>
              <a:avLst/>
              <a:ahLst/>
              <a:rect l="l" t="t" r="r" b="b"/>
              <a:pathLst>
                <a:path w="2135" h="18048" extrusionOk="0">
                  <a:moveTo>
                    <a:pt x="2135" y="1"/>
                  </a:moveTo>
                  <a:lnTo>
                    <a:pt x="2135" y="1"/>
                  </a:lnTo>
                  <a:cubicBezTo>
                    <a:pt x="2102" y="68"/>
                    <a:pt x="2102" y="101"/>
                    <a:pt x="2068" y="168"/>
                  </a:cubicBezTo>
                  <a:lnTo>
                    <a:pt x="1935" y="668"/>
                  </a:lnTo>
                  <a:cubicBezTo>
                    <a:pt x="1868" y="901"/>
                    <a:pt x="1801" y="1168"/>
                    <a:pt x="1701" y="1502"/>
                  </a:cubicBezTo>
                  <a:cubicBezTo>
                    <a:pt x="1635" y="1802"/>
                    <a:pt x="1535" y="2169"/>
                    <a:pt x="1434" y="2569"/>
                  </a:cubicBezTo>
                  <a:cubicBezTo>
                    <a:pt x="1001" y="4671"/>
                    <a:pt x="667" y="6806"/>
                    <a:pt x="434" y="8941"/>
                  </a:cubicBezTo>
                  <a:cubicBezTo>
                    <a:pt x="167" y="11442"/>
                    <a:pt x="0" y="13711"/>
                    <a:pt x="0" y="15378"/>
                  </a:cubicBezTo>
                  <a:cubicBezTo>
                    <a:pt x="0" y="16212"/>
                    <a:pt x="0" y="16846"/>
                    <a:pt x="33" y="17313"/>
                  </a:cubicBezTo>
                  <a:cubicBezTo>
                    <a:pt x="33" y="17547"/>
                    <a:pt x="67" y="17713"/>
                    <a:pt x="67" y="17847"/>
                  </a:cubicBezTo>
                  <a:cubicBezTo>
                    <a:pt x="67" y="17914"/>
                    <a:pt x="100" y="17980"/>
                    <a:pt x="100" y="18047"/>
                  </a:cubicBezTo>
                  <a:cubicBezTo>
                    <a:pt x="134" y="17980"/>
                    <a:pt x="134" y="17914"/>
                    <a:pt x="100" y="17847"/>
                  </a:cubicBezTo>
                  <a:lnTo>
                    <a:pt x="100" y="17347"/>
                  </a:lnTo>
                  <a:cubicBezTo>
                    <a:pt x="100" y="16880"/>
                    <a:pt x="100" y="16212"/>
                    <a:pt x="134" y="15378"/>
                  </a:cubicBezTo>
                  <a:cubicBezTo>
                    <a:pt x="167" y="13744"/>
                    <a:pt x="334" y="11476"/>
                    <a:pt x="601" y="8974"/>
                  </a:cubicBezTo>
                  <a:cubicBezTo>
                    <a:pt x="867" y="6472"/>
                    <a:pt x="1234" y="4237"/>
                    <a:pt x="1568" y="2603"/>
                  </a:cubicBezTo>
                  <a:cubicBezTo>
                    <a:pt x="1635" y="2202"/>
                    <a:pt x="1735" y="1835"/>
                    <a:pt x="1801" y="1535"/>
                  </a:cubicBezTo>
                  <a:cubicBezTo>
                    <a:pt x="1868" y="1202"/>
                    <a:pt x="1935" y="935"/>
                    <a:pt x="2002" y="701"/>
                  </a:cubicBezTo>
                  <a:lnTo>
                    <a:pt x="2102" y="168"/>
                  </a:lnTo>
                  <a:cubicBezTo>
                    <a:pt x="2135" y="134"/>
                    <a:pt x="2135" y="68"/>
                    <a:pt x="213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5" name="Google Shape;1490;g199c61c64ac_6_507"/>
            <p:cNvSpPr/>
            <p:nvPr/>
          </p:nvSpPr>
          <p:spPr>
            <a:xfrm>
              <a:off x="5252250" y="4595400"/>
              <a:ext cx="146800" cy="306900"/>
            </a:xfrm>
            <a:custGeom>
              <a:avLst/>
              <a:ahLst/>
              <a:rect l="l" t="t" r="r" b="b"/>
              <a:pathLst>
                <a:path w="5872" h="12276" extrusionOk="0">
                  <a:moveTo>
                    <a:pt x="1" y="0"/>
                  </a:moveTo>
                  <a:lnTo>
                    <a:pt x="1" y="0"/>
                  </a:lnTo>
                  <a:cubicBezTo>
                    <a:pt x="534" y="434"/>
                    <a:pt x="1035" y="868"/>
                    <a:pt x="1502" y="1368"/>
                  </a:cubicBezTo>
                  <a:cubicBezTo>
                    <a:pt x="2603" y="2602"/>
                    <a:pt x="3503" y="4003"/>
                    <a:pt x="4137" y="5538"/>
                  </a:cubicBezTo>
                  <a:cubicBezTo>
                    <a:pt x="4504" y="6372"/>
                    <a:pt x="4804" y="7239"/>
                    <a:pt x="5071" y="8106"/>
                  </a:cubicBezTo>
                  <a:cubicBezTo>
                    <a:pt x="5304" y="8907"/>
                    <a:pt x="5438" y="9641"/>
                    <a:pt x="5571" y="10274"/>
                  </a:cubicBezTo>
                  <a:cubicBezTo>
                    <a:pt x="5705" y="10875"/>
                    <a:pt x="5771" y="11409"/>
                    <a:pt x="5805" y="11742"/>
                  </a:cubicBezTo>
                  <a:cubicBezTo>
                    <a:pt x="5805" y="11942"/>
                    <a:pt x="5838" y="12109"/>
                    <a:pt x="5872" y="12276"/>
                  </a:cubicBezTo>
                  <a:cubicBezTo>
                    <a:pt x="5872" y="12109"/>
                    <a:pt x="5872" y="11909"/>
                    <a:pt x="5872" y="11742"/>
                  </a:cubicBezTo>
                  <a:cubicBezTo>
                    <a:pt x="5838" y="11375"/>
                    <a:pt x="5805" y="10875"/>
                    <a:pt x="5705" y="10241"/>
                  </a:cubicBezTo>
                  <a:cubicBezTo>
                    <a:pt x="5571" y="9507"/>
                    <a:pt x="5405" y="8773"/>
                    <a:pt x="5204" y="8040"/>
                  </a:cubicBezTo>
                  <a:cubicBezTo>
                    <a:pt x="4971" y="7172"/>
                    <a:pt x="4637" y="6305"/>
                    <a:pt x="4270" y="5471"/>
                  </a:cubicBezTo>
                  <a:cubicBezTo>
                    <a:pt x="3637" y="3903"/>
                    <a:pt x="2736" y="2502"/>
                    <a:pt x="1602" y="1301"/>
                  </a:cubicBezTo>
                  <a:cubicBezTo>
                    <a:pt x="1402" y="1068"/>
                    <a:pt x="1202" y="868"/>
                    <a:pt x="968" y="701"/>
                  </a:cubicBezTo>
                  <a:cubicBezTo>
                    <a:pt x="868" y="634"/>
                    <a:pt x="801" y="534"/>
                    <a:pt x="701" y="467"/>
                  </a:cubicBezTo>
                  <a:lnTo>
                    <a:pt x="468" y="301"/>
                  </a:lnTo>
                  <a:cubicBezTo>
                    <a:pt x="301" y="201"/>
                    <a:pt x="134" y="1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6" name="Google Shape;1491;g199c61c64ac_6_507"/>
            <p:cNvSpPr/>
            <p:nvPr/>
          </p:nvSpPr>
          <p:spPr>
            <a:xfrm>
              <a:off x="2059150" y="3917425"/>
              <a:ext cx="537900" cy="1046600"/>
            </a:xfrm>
            <a:custGeom>
              <a:avLst/>
              <a:ahLst/>
              <a:rect l="l" t="t" r="r" b="b"/>
              <a:pathLst>
                <a:path w="21516" h="41864" extrusionOk="0">
                  <a:moveTo>
                    <a:pt x="6205" y="0"/>
                  </a:moveTo>
                  <a:lnTo>
                    <a:pt x="6205" y="0"/>
                  </a:lnTo>
                  <a:cubicBezTo>
                    <a:pt x="6150" y="12"/>
                    <a:pt x="6095" y="26"/>
                    <a:pt x="6041" y="43"/>
                  </a:cubicBezTo>
                  <a:lnTo>
                    <a:pt x="6041" y="43"/>
                  </a:lnTo>
                  <a:cubicBezTo>
                    <a:pt x="6097" y="30"/>
                    <a:pt x="6159" y="23"/>
                    <a:pt x="6205" y="0"/>
                  </a:cubicBezTo>
                  <a:close/>
                  <a:moveTo>
                    <a:pt x="6041" y="43"/>
                  </a:moveTo>
                  <a:lnTo>
                    <a:pt x="6041" y="43"/>
                  </a:lnTo>
                  <a:cubicBezTo>
                    <a:pt x="6017" y="49"/>
                    <a:pt x="5994" y="56"/>
                    <a:pt x="5974" y="65"/>
                  </a:cubicBezTo>
                  <a:lnTo>
                    <a:pt x="5974" y="65"/>
                  </a:lnTo>
                  <a:cubicBezTo>
                    <a:pt x="5996" y="58"/>
                    <a:pt x="6019" y="50"/>
                    <a:pt x="6041" y="43"/>
                  </a:cubicBezTo>
                  <a:close/>
                  <a:moveTo>
                    <a:pt x="5974" y="65"/>
                  </a:moveTo>
                  <a:cubicBezTo>
                    <a:pt x="5971" y="66"/>
                    <a:pt x="5968" y="67"/>
                    <a:pt x="5965" y="68"/>
                  </a:cubicBezTo>
                  <a:lnTo>
                    <a:pt x="5965" y="68"/>
                  </a:lnTo>
                  <a:cubicBezTo>
                    <a:pt x="5967" y="68"/>
                    <a:pt x="5969" y="67"/>
                    <a:pt x="5971" y="67"/>
                  </a:cubicBezTo>
                  <a:cubicBezTo>
                    <a:pt x="5972" y="66"/>
                    <a:pt x="5973" y="66"/>
                    <a:pt x="5974" y="65"/>
                  </a:cubicBezTo>
                  <a:close/>
                  <a:moveTo>
                    <a:pt x="6371" y="33"/>
                  </a:moveTo>
                  <a:cubicBezTo>
                    <a:pt x="6305" y="33"/>
                    <a:pt x="6205" y="33"/>
                    <a:pt x="6138" y="67"/>
                  </a:cubicBezTo>
                  <a:cubicBezTo>
                    <a:pt x="6224" y="50"/>
                    <a:pt x="6310" y="41"/>
                    <a:pt x="6395" y="41"/>
                  </a:cubicBezTo>
                  <a:cubicBezTo>
                    <a:pt x="6639" y="41"/>
                    <a:pt x="6874" y="110"/>
                    <a:pt x="7072" y="234"/>
                  </a:cubicBezTo>
                  <a:cubicBezTo>
                    <a:pt x="7439" y="400"/>
                    <a:pt x="7739" y="667"/>
                    <a:pt x="7973" y="967"/>
                  </a:cubicBezTo>
                  <a:cubicBezTo>
                    <a:pt x="8273" y="1401"/>
                    <a:pt x="8540" y="1868"/>
                    <a:pt x="8706" y="2368"/>
                  </a:cubicBezTo>
                  <a:cubicBezTo>
                    <a:pt x="9140" y="3536"/>
                    <a:pt x="9340" y="5004"/>
                    <a:pt x="9540" y="6772"/>
                  </a:cubicBezTo>
                  <a:cubicBezTo>
                    <a:pt x="9774" y="8506"/>
                    <a:pt x="10007" y="10508"/>
                    <a:pt x="10074" y="12776"/>
                  </a:cubicBezTo>
                  <a:cubicBezTo>
                    <a:pt x="10107" y="12943"/>
                    <a:pt x="10207" y="13143"/>
                    <a:pt x="10341" y="13310"/>
                  </a:cubicBezTo>
                  <a:cubicBezTo>
                    <a:pt x="10474" y="13476"/>
                    <a:pt x="10674" y="13610"/>
                    <a:pt x="10875" y="13643"/>
                  </a:cubicBezTo>
                  <a:cubicBezTo>
                    <a:pt x="11108" y="13610"/>
                    <a:pt x="11308" y="13576"/>
                    <a:pt x="11475" y="13443"/>
                  </a:cubicBezTo>
                  <a:cubicBezTo>
                    <a:pt x="11675" y="13343"/>
                    <a:pt x="11842" y="13209"/>
                    <a:pt x="12009" y="13109"/>
                  </a:cubicBezTo>
                  <a:cubicBezTo>
                    <a:pt x="12342" y="12876"/>
                    <a:pt x="12709" y="12642"/>
                    <a:pt x="13076" y="12442"/>
                  </a:cubicBezTo>
                  <a:cubicBezTo>
                    <a:pt x="13345" y="12296"/>
                    <a:pt x="13649" y="12203"/>
                    <a:pt x="13950" y="12203"/>
                  </a:cubicBezTo>
                  <a:cubicBezTo>
                    <a:pt x="14060" y="12203"/>
                    <a:pt x="14170" y="12215"/>
                    <a:pt x="14277" y="12242"/>
                  </a:cubicBezTo>
                  <a:cubicBezTo>
                    <a:pt x="14677" y="12409"/>
                    <a:pt x="14978" y="12742"/>
                    <a:pt x="15111" y="13143"/>
                  </a:cubicBezTo>
                  <a:cubicBezTo>
                    <a:pt x="15244" y="13576"/>
                    <a:pt x="15278" y="14043"/>
                    <a:pt x="15178" y="14477"/>
                  </a:cubicBezTo>
                  <a:cubicBezTo>
                    <a:pt x="15011" y="15411"/>
                    <a:pt x="14577" y="16245"/>
                    <a:pt x="14177" y="17179"/>
                  </a:cubicBezTo>
                  <a:lnTo>
                    <a:pt x="12976" y="19948"/>
                  </a:lnTo>
                  <a:lnTo>
                    <a:pt x="12376" y="21415"/>
                  </a:lnTo>
                  <a:cubicBezTo>
                    <a:pt x="12242" y="21649"/>
                    <a:pt x="12142" y="21882"/>
                    <a:pt x="12042" y="22149"/>
                  </a:cubicBezTo>
                  <a:cubicBezTo>
                    <a:pt x="11909" y="22383"/>
                    <a:pt x="11875" y="22683"/>
                    <a:pt x="11942" y="22983"/>
                  </a:cubicBezTo>
                  <a:cubicBezTo>
                    <a:pt x="12000" y="23128"/>
                    <a:pt x="12134" y="23223"/>
                    <a:pt x="12300" y="23223"/>
                  </a:cubicBezTo>
                  <a:cubicBezTo>
                    <a:pt x="12325" y="23223"/>
                    <a:pt x="12350" y="23221"/>
                    <a:pt x="12376" y="23217"/>
                  </a:cubicBezTo>
                  <a:cubicBezTo>
                    <a:pt x="12509" y="23217"/>
                    <a:pt x="12643" y="23183"/>
                    <a:pt x="12776" y="23117"/>
                  </a:cubicBezTo>
                  <a:lnTo>
                    <a:pt x="13543" y="22783"/>
                  </a:lnTo>
                  <a:cubicBezTo>
                    <a:pt x="14044" y="22549"/>
                    <a:pt x="14544" y="22349"/>
                    <a:pt x="15078" y="22183"/>
                  </a:cubicBezTo>
                  <a:cubicBezTo>
                    <a:pt x="15611" y="21982"/>
                    <a:pt x="16178" y="21882"/>
                    <a:pt x="16712" y="21882"/>
                  </a:cubicBezTo>
                  <a:cubicBezTo>
                    <a:pt x="16741" y="21881"/>
                    <a:pt x="16769" y="21880"/>
                    <a:pt x="16798" y="21880"/>
                  </a:cubicBezTo>
                  <a:cubicBezTo>
                    <a:pt x="17332" y="21880"/>
                    <a:pt x="17825" y="22174"/>
                    <a:pt x="18046" y="22650"/>
                  </a:cubicBezTo>
                  <a:cubicBezTo>
                    <a:pt x="18247" y="23183"/>
                    <a:pt x="18280" y="23784"/>
                    <a:pt x="18113" y="24317"/>
                  </a:cubicBezTo>
                  <a:cubicBezTo>
                    <a:pt x="17980" y="24885"/>
                    <a:pt x="17813" y="25452"/>
                    <a:pt x="17579" y="25985"/>
                  </a:cubicBezTo>
                  <a:cubicBezTo>
                    <a:pt x="17079" y="27086"/>
                    <a:pt x="16479" y="28154"/>
                    <a:pt x="15811" y="29188"/>
                  </a:cubicBezTo>
                  <a:cubicBezTo>
                    <a:pt x="15645" y="29454"/>
                    <a:pt x="15478" y="29721"/>
                    <a:pt x="15344" y="30022"/>
                  </a:cubicBezTo>
                  <a:cubicBezTo>
                    <a:pt x="15278" y="30188"/>
                    <a:pt x="15278" y="30388"/>
                    <a:pt x="15344" y="30555"/>
                  </a:cubicBezTo>
                  <a:cubicBezTo>
                    <a:pt x="15378" y="30589"/>
                    <a:pt x="15378" y="30622"/>
                    <a:pt x="15411" y="30689"/>
                  </a:cubicBezTo>
                  <a:cubicBezTo>
                    <a:pt x="15445" y="30722"/>
                    <a:pt x="15478" y="30755"/>
                    <a:pt x="15545" y="30789"/>
                  </a:cubicBezTo>
                  <a:cubicBezTo>
                    <a:pt x="15595" y="30805"/>
                    <a:pt x="15645" y="30814"/>
                    <a:pt x="15695" y="30814"/>
                  </a:cubicBezTo>
                  <a:cubicBezTo>
                    <a:pt x="15745" y="30814"/>
                    <a:pt x="15795" y="30805"/>
                    <a:pt x="15845" y="30789"/>
                  </a:cubicBezTo>
                  <a:cubicBezTo>
                    <a:pt x="16445" y="30522"/>
                    <a:pt x="17012" y="30222"/>
                    <a:pt x="17546" y="29888"/>
                  </a:cubicBezTo>
                  <a:cubicBezTo>
                    <a:pt x="18080" y="29555"/>
                    <a:pt x="18647" y="29288"/>
                    <a:pt x="19247" y="29054"/>
                  </a:cubicBezTo>
                  <a:cubicBezTo>
                    <a:pt x="19547" y="28954"/>
                    <a:pt x="19848" y="28887"/>
                    <a:pt x="20148" y="28854"/>
                  </a:cubicBezTo>
                  <a:cubicBezTo>
                    <a:pt x="20179" y="28851"/>
                    <a:pt x="20210" y="28849"/>
                    <a:pt x="20241" y="28849"/>
                  </a:cubicBezTo>
                  <a:cubicBezTo>
                    <a:pt x="20509" y="28849"/>
                    <a:pt x="20769" y="28975"/>
                    <a:pt x="20948" y="29154"/>
                  </a:cubicBezTo>
                  <a:cubicBezTo>
                    <a:pt x="21149" y="29388"/>
                    <a:pt x="21282" y="29688"/>
                    <a:pt x="21249" y="29988"/>
                  </a:cubicBezTo>
                  <a:cubicBezTo>
                    <a:pt x="21282" y="30288"/>
                    <a:pt x="21249" y="30622"/>
                    <a:pt x="21182" y="30922"/>
                  </a:cubicBezTo>
                  <a:cubicBezTo>
                    <a:pt x="21015" y="31556"/>
                    <a:pt x="20782" y="32190"/>
                    <a:pt x="20515" y="32757"/>
                  </a:cubicBezTo>
                  <a:cubicBezTo>
                    <a:pt x="19914" y="33958"/>
                    <a:pt x="19147" y="35092"/>
                    <a:pt x="18280" y="36093"/>
                  </a:cubicBezTo>
                  <a:cubicBezTo>
                    <a:pt x="17413" y="37160"/>
                    <a:pt x="16479" y="38127"/>
                    <a:pt x="15478" y="39061"/>
                  </a:cubicBezTo>
                  <a:cubicBezTo>
                    <a:pt x="14978" y="39528"/>
                    <a:pt x="14444" y="39962"/>
                    <a:pt x="13877" y="40362"/>
                  </a:cubicBezTo>
                  <a:lnTo>
                    <a:pt x="12264" y="41646"/>
                  </a:lnTo>
                  <a:lnTo>
                    <a:pt x="12264" y="41646"/>
                  </a:lnTo>
                  <a:lnTo>
                    <a:pt x="10374" y="40896"/>
                  </a:lnTo>
                  <a:cubicBezTo>
                    <a:pt x="9707" y="40662"/>
                    <a:pt x="9073" y="40396"/>
                    <a:pt x="8440" y="40129"/>
                  </a:cubicBezTo>
                  <a:cubicBezTo>
                    <a:pt x="7205" y="39528"/>
                    <a:pt x="6038" y="38861"/>
                    <a:pt x="4904" y="38094"/>
                  </a:cubicBezTo>
                  <a:cubicBezTo>
                    <a:pt x="3770" y="37360"/>
                    <a:pt x="2735" y="36526"/>
                    <a:pt x="1835" y="35559"/>
                  </a:cubicBezTo>
                  <a:cubicBezTo>
                    <a:pt x="1368" y="35058"/>
                    <a:pt x="968" y="34558"/>
                    <a:pt x="667" y="33991"/>
                  </a:cubicBezTo>
                  <a:cubicBezTo>
                    <a:pt x="501" y="33691"/>
                    <a:pt x="367" y="33391"/>
                    <a:pt x="300" y="33090"/>
                  </a:cubicBezTo>
                  <a:cubicBezTo>
                    <a:pt x="200" y="32790"/>
                    <a:pt x="234" y="32490"/>
                    <a:pt x="334" y="32223"/>
                  </a:cubicBezTo>
                  <a:cubicBezTo>
                    <a:pt x="501" y="31956"/>
                    <a:pt x="734" y="31756"/>
                    <a:pt x="1034" y="31689"/>
                  </a:cubicBezTo>
                  <a:cubicBezTo>
                    <a:pt x="1254" y="31641"/>
                    <a:pt x="1492" y="31610"/>
                    <a:pt x="1721" y="31610"/>
                  </a:cubicBezTo>
                  <a:cubicBezTo>
                    <a:pt x="1805" y="31610"/>
                    <a:pt x="1888" y="31614"/>
                    <a:pt x="1968" y="31623"/>
                  </a:cubicBezTo>
                  <a:cubicBezTo>
                    <a:pt x="2602" y="31656"/>
                    <a:pt x="3236" y="31756"/>
                    <a:pt x="3836" y="31923"/>
                  </a:cubicBezTo>
                  <a:cubicBezTo>
                    <a:pt x="4437" y="32090"/>
                    <a:pt x="5070" y="32223"/>
                    <a:pt x="5738" y="32290"/>
                  </a:cubicBezTo>
                  <a:cubicBezTo>
                    <a:pt x="5764" y="32299"/>
                    <a:pt x="5791" y="32303"/>
                    <a:pt x="5817" y="32303"/>
                  </a:cubicBezTo>
                  <a:cubicBezTo>
                    <a:pt x="5889" y="32303"/>
                    <a:pt x="5956" y="32272"/>
                    <a:pt x="6004" y="32223"/>
                  </a:cubicBezTo>
                  <a:cubicBezTo>
                    <a:pt x="6038" y="32156"/>
                    <a:pt x="6071" y="32123"/>
                    <a:pt x="6105" y="32090"/>
                  </a:cubicBezTo>
                  <a:cubicBezTo>
                    <a:pt x="6105" y="32023"/>
                    <a:pt x="6138" y="31990"/>
                    <a:pt x="6138" y="31956"/>
                  </a:cubicBezTo>
                  <a:cubicBezTo>
                    <a:pt x="6138" y="31756"/>
                    <a:pt x="6105" y="31556"/>
                    <a:pt x="5971" y="31423"/>
                  </a:cubicBezTo>
                  <a:cubicBezTo>
                    <a:pt x="5771" y="31189"/>
                    <a:pt x="5537" y="30956"/>
                    <a:pt x="5271" y="30789"/>
                  </a:cubicBezTo>
                  <a:cubicBezTo>
                    <a:pt x="4370" y="29988"/>
                    <a:pt x="3503" y="29121"/>
                    <a:pt x="2702" y="28220"/>
                  </a:cubicBezTo>
                  <a:cubicBezTo>
                    <a:pt x="2302" y="27753"/>
                    <a:pt x="1968" y="27286"/>
                    <a:pt x="1668" y="26753"/>
                  </a:cubicBezTo>
                  <a:cubicBezTo>
                    <a:pt x="1368" y="26286"/>
                    <a:pt x="1234" y="25718"/>
                    <a:pt x="1268" y="25151"/>
                  </a:cubicBezTo>
                  <a:cubicBezTo>
                    <a:pt x="1368" y="24584"/>
                    <a:pt x="1768" y="24151"/>
                    <a:pt x="2335" y="24051"/>
                  </a:cubicBezTo>
                  <a:cubicBezTo>
                    <a:pt x="2869" y="23884"/>
                    <a:pt x="3436" y="23817"/>
                    <a:pt x="4003" y="23817"/>
                  </a:cubicBezTo>
                  <a:cubicBezTo>
                    <a:pt x="4537" y="23850"/>
                    <a:pt x="5104" y="23884"/>
                    <a:pt x="5671" y="23951"/>
                  </a:cubicBezTo>
                  <a:lnTo>
                    <a:pt x="6505" y="24051"/>
                  </a:lnTo>
                  <a:cubicBezTo>
                    <a:pt x="6572" y="24067"/>
                    <a:pt x="6647" y="24076"/>
                    <a:pt x="6722" y="24076"/>
                  </a:cubicBezTo>
                  <a:cubicBezTo>
                    <a:pt x="6797" y="24076"/>
                    <a:pt x="6872" y="24067"/>
                    <a:pt x="6938" y="24051"/>
                  </a:cubicBezTo>
                  <a:cubicBezTo>
                    <a:pt x="7105" y="24017"/>
                    <a:pt x="7239" y="23884"/>
                    <a:pt x="7239" y="23717"/>
                  </a:cubicBezTo>
                  <a:cubicBezTo>
                    <a:pt x="7272" y="23417"/>
                    <a:pt x="7139" y="23117"/>
                    <a:pt x="6905" y="22916"/>
                  </a:cubicBezTo>
                  <a:lnTo>
                    <a:pt x="6405" y="22316"/>
                  </a:lnTo>
                  <a:lnTo>
                    <a:pt x="5404" y="21115"/>
                  </a:lnTo>
                  <a:lnTo>
                    <a:pt x="3436" y="18780"/>
                  </a:lnTo>
                  <a:cubicBezTo>
                    <a:pt x="2802" y="18013"/>
                    <a:pt x="2135" y="17312"/>
                    <a:pt x="1701" y="16478"/>
                  </a:cubicBezTo>
                  <a:cubicBezTo>
                    <a:pt x="1501" y="16078"/>
                    <a:pt x="1368" y="15645"/>
                    <a:pt x="1401" y="15211"/>
                  </a:cubicBezTo>
                  <a:cubicBezTo>
                    <a:pt x="1401" y="14777"/>
                    <a:pt x="1601" y="14377"/>
                    <a:pt x="1935" y="14077"/>
                  </a:cubicBezTo>
                  <a:cubicBezTo>
                    <a:pt x="2170" y="13948"/>
                    <a:pt x="2433" y="13889"/>
                    <a:pt x="2705" y="13889"/>
                  </a:cubicBezTo>
                  <a:cubicBezTo>
                    <a:pt x="2858" y="13889"/>
                    <a:pt x="3013" y="13907"/>
                    <a:pt x="3169" y="13943"/>
                  </a:cubicBezTo>
                  <a:cubicBezTo>
                    <a:pt x="3569" y="14010"/>
                    <a:pt x="3970" y="14110"/>
                    <a:pt x="4370" y="14244"/>
                  </a:cubicBezTo>
                  <a:cubicBezTo>
                    <a:pt x="4570" y="14310"/>
                    <a:pt x="4770" y="14377"/>
                    <a:pt x="4970" y="14444"/>
                  </a:cubicBezTo>
                  <a:cubicBezTo>
                    <a:pt x="5070" y="14460"/>
                    <a:pt x="5179" y="14469"/>
                    <a:pt x="5287" y="14469"/>
                  </a:cubicBezTo>
                  <a:cubicBezTo>
                    <a:pt x="5396" y="14469"/>
                    <a:pt x="5504" y="14460"/>
                    <a:pt x="5604" y="14444"/>
                  </a:cubicBezTo>
                  <a:cubicBezTo>
                    <a:pt x="5804" y="14344"/>
                    <a:pt x="5971" y="14177"/>
                    <a:pt x="6038" y="13977"/>
                  </a:cubicBezTo>
                  <a:cubicBezTo>
                    <a:pt x="6105" y="13777"/>
                    <a:pt x="6138" y="13576"/>
                    <a:pt x="6138" y="13376"/>
                  </a:cubicBezTo>
                  <a:cubicBezTo>
                    <a:pt x="5638" y="11408"/>
                    <a:pt x="5237" y="9407"/>
                    <a:pt x="4937" y="7405"/>
                  </a:cubicBezTo>
                  <a:cubicBezTo>
                    <a:pt x="4637" y="5938"/>
                    <a:pt x="4470" y="4470"/>
                    <a:pt x="4470" y="2969"/>
                  </a:cubicBezTo>
                  <a:cubicBezTo>
                    <a:pt x="4503" y="2435"/>
                    <a:pt x="4603" y="1901"/>
                    <a:pt x="4770" y="1401"/>
                  </a:cubicBezTo>
                  <a:cubicBezTo>
                    <a:pt x="4904" y="1034"/>
                    <a:pt x="5104" y="701"/>
                    <a:pt x="5371" y="434"/>
                  </a:cubicBezTo>
                  <a:cubicBezTo>
                    <a:pt x="5542" y="263"/>
                    <a:pt x="5749" y="145"/>
                    <a:pt x="5965" y="68"/>
                  </a:cubicBezTo>
                  <a:lnTo>
                    <a:pt x="5965" y="68"/>
                  </a:lnTo>
                  <a:cubicBezTo>
                    <a:pt x="5734" y="135"/>
                    <a:pt x="5536" y="235"/>
                    <a:pt x="5337" y="400"/>
                  </a:cubicBezTo>
                  <a:cubicBezTo>
                    <a:pt x="5070" y="701"/>
                    <a:pt x="4837" y="1034"/>
                    <a:pt x="4737" y="1401"/>
                  </a:cubicBezTo>
                  <a:cubicBezTo>
                    <a:pt x="4537" y="1901"/>
                    <a:pt x="4437" y="2435"/>
                    <a:pt x="4403" y="2969"/>
                  </a:cubicBezTo>
                  <a:cubicBezTo>
                    <a:pt x="4403" y="4470"/>
                    <a:pt x="4537" y="5971"/>
                    <a:pt x="4837" y="7439"/>
                  </a:cubicBezTo>
                  <a:cubicBezTo>
                    <a:pt x="5137" y="9407"/>
                    <a:pt x="5537" y="11408"/>
                    <a:pt x="6038" y="13343"/>
                  </a:cubicBezTo>
                  <a:cubicBezTo>
                    <a:pt x="6038" y="13710"/>
                    <a:pt x="5938" y="14143"/>
                    <a:pt x="5571" y="14277"/>
                  </a:cubicBezTo>
                  <a:cubicBezTo>
                    <a:pt x="5487" y="14294"/>
                    <a:pt x="5396" y="14302"/>
                    <a:pt x="5304" y="14302"/>
                  </a:cubicBezTo>
                  <a:cubicBezTo>
                    <a:pt x="5212" y="14302"/>
                    <a:pt x="5120" y="14294"/>
                    <a:pt x="5037" y="14277"/>
                  </a:cubicBezTo>
                  <a:cubicBezTo>
                    <a:pt x="4837" y="14244"/>
                    <a:pt x="4637" y="14177"/>
                    <a:pt x="4437" y="14110"/>
                  </a:cubicBezTo>
                  <a:cubicBezTo>
                    <a:pt x="4036" y="13977"/>
                    <a:pt x="3603" y="13843"/>
                    <a:pt x="3202" y="13777"/>
                  </a:cubicBezTo>
                  <a:cubicBezTo>
                    <a:pt x="3037" y="13729"/>
                    <a:pt x="2872" y="13707"/>
                    <a:pt x="2709" y="13707"/>
                  </a:cubicBezTo>
                  <a:cubicBezTo>
                    <a:pt x="2413" y="13707"/>
                    <a:pt x="2127" y="13781"/>
                    <a:pt x="1868" y="13910"/>
                  </a:cubicBezTo>
                  <a:cubicBezTo>
                    <a:pt x="1501" y="14210"/>
                    <a:pt x="1268" y="14677"/>
                    <a:pt x="1234" y="15144"/>
                  </a:cubicBezTo>
                  <a:cubicBezTo>
                    <a:pt x="1234" y="15611"/>
                    <a:pt x="1368" y="16112"/>
                    <a:pt x="1568" y="16512"/>
                  </a:cubicBezTo>
                  <a:cubicBezTo>
                    <a:pt x="2002" y="17379"/>
                    <a:pt x="2702" y="18080"/>
                    <a:pt x="3336" y="18847"/>
                  </a:cubicBezTo>
                  <a:lnTo>
                    <a:pt x="5271" y="21182"/>
                  </a:lnTo>
                  <a:lnTo>
                    <a:pt x="6271" y="22383"/>
                  </a:lnTo>
                  <a:cubicBezTo>
                    <a:pt x="6471" y="22583"/>
                    <a:pt x="6638" y="22783"/>
                    <a:pt x="6805" y="22983"/>
                  </a:cubicBezTo>
                  <a:cubicBezTo>
                    <a:pt x="6872" y="23083"/>
                    <a:pt x="6972" y="23183"/>
                    <a:pt x="7005" y="23317"/>
                  </a:cubicBezTo>
                  <a:cubicBezTo>
                    <a:pt x="7072" y="23417"/>
                    <a:pt x="7105" y="23517"/>
                    <a:pt x="7105" y="23650"/>
                  </a:cubicBezTo>
                  <a:cubicBezTo>
                    <a:pt x="7080" y="23800"/>
                    <a:pt x="6905" y="23875"/>
                    <a:pt x="6721" y="23875"/>
                  </a:cubicBezTo>
                  <a:cubicBezTo>
                    <a:pt x="6659" y="23875"/>
                    <a:pt x="6597" y="23867"/>
                    <a:pt x="6538" y="23850"/>
                  </a:cubicBezTo>
                  <a:lnTo>
                    <a:pt x="5704" y="23750"/>
                  </a:lnTo>
                  <a:cubicBezTo>
                    <a:pt x="5137" y="23684"/>
                    <a:pt x="4603" y="23650"/>
                    <a:pt x="4036" y="23617"/>
                  </a:cubicBezTo>
                  <a:cubicBezTo>
                    <a:pt x="3469" y="23617"/>
                    <a:pt x="2869" y="23684"/>
                    <a:pt x="2302" y="23817"/>
                  </a:cubicBezTo>
                  <a:cubicBezTo>
                    <a:pt x="2035" y="23917"/>
                    <a:pt x="1768" y="24084"/>
                    <a:pt x="1535" y="24284"/>
                  </a:cubicBezTo>
                  <a:cubicBezTo>
                    <a:pt x="1301" y="24484"/>
                    <a:pt x="1168" y="24784"/>
                    <a:pt x="1134" y="25118"/>
                  </a:cubicBezTo>
                  <a:cubicBezTo>
                    <a:pt x="1068" y="25718"/>
                    <a:pt x="1234" y="26319"/>
                    <a:pt x="1535" y="26853"/>
                  </a:cubicBezTo>
                  <a:cubicBezTo>
                    <a:pt x="1835" y="27386"/>
                    <a:pt x="2168" y="27887"/>
                    <a:pt x="2569" y="28320"/>
                  </a:cubicBezTo>
                  <a:cubicBezTo>
                    <a:pt x="3369" y="29254"/>
                    <a:pt x="4237" y="30122"/>
                    <a:pt x="5171" y="30922"/>
                  </a:cubicBezTo>
                  <a:cubicBezTo>
                    <a:pt x="5437" y="31122"/>
                    <a:pt x="5638" y="31322"/>
                    <a:pt x="5838" y="31556"/>
                  </a:cubicBezTo>
                  <a:cubicBezTo>
                    <a:pt x="5938" y="31656"/>
                    <a:pt x="5971" y="31756"/>
                    <a:pt x="5938" y="31890"/>
                  </a:cubicBezTo>
                  <a:cubicBezTo>
                    <a:pt x="5938" y="31923"/>
                    <a:pt x="5938" y="31956"/>
                    <a:pt x="5938" y="31990"/>
                  </a:cubicBezTo>
                  <a:cubicBezTo>
                    <a:pt x="5904" y="32023"/>
                    <a:pt x="5904" y="32056"/>
                    <a:pt x="5904" y="32056"/>
                  </a:cubicBezTo>
                  <a:cubicBezTo>
                    <a:pt x="5838" y="32090"/>
                    <a:pt x="5804" y="32090"/>
                    <a:pt x="5738" y="32090"/>
                  </a:cubicBezTo>
                  <a:cubicBezTo>
                    <a:pt x="5137" y="32023"/>
                    <a:pt x="4503" y="31890"/>
                    <a:pt x="3903" y="31723"/>
                  </a:cubicBezTo>
                  <a:cubicBezTo>
                    <a:pt x="3303" y="31556"/>
                    <a:pt x="2635" y="31456"/>
                    <a:pt x="2002" y="31389"/>
                  </a:cubicBezTo>
                  <a:cubicBezTo>
                    <a:pt x="1668" y="31389"/>
                    <a:pt x="1334" y="31423"/>
                    <a:pt x="1001" y="31489"/>
                  </a:cubicBezTo>
                  <a:cubicBezTo>
                    <a:pt x="667" y="31556"/>
                    <a:pt x="367" y="31789"/>
                    <a:pt x="167" y="32123"/>
                  </a:cubicBezTo>
                  <a:cubicBezTo>
                    <a:pt x="34" y="32423"/>
                    <a:pt x="0" y="32790"/>
                    <a:pt x="100" y="33124"/>
                  </a:cubicBezTo>
                  <a:cubicBezTo>
                    <a:pt x="200" y="33457"/>
                    <a:pt x="334" y="33791"/>
                    <a:pt x="501" y="34058"/>
                  </a:cubicBezTo>
                  <a:cubicBezTo>
                    <a:pt x="834" y="34658"/>
                    <a:pt x="1234" y="35192"/>
                    <a:pt x="1701" y="35692"/>
                  </a:cubicBezTo>
                  <a:cubicBezTo>
                    <a:pt x="2602" y="36660"/>
                    <a:pt x="3669" y="37527"/>
                    <a:pt x="4804" y="38261"/>
                  </a:cubicBezTo>
                  <a:cubicBezTo>
                    <a:pt x="5938" y="39028"/>
                    <a:pt x="7139" y="39728"/>
                    <a:pt x="8373" y="40296"/>
                  </a:cubicBezTo>
                  <a:cubicBezTo>
                    <a:pt x="9007" y="40596"/>
                    <a:pt x="9640" y="40863"/>
                    <a:pt x="10308" y="41096"/>
                  </a:cubicBezTo>
                  <a:lnTo>
                    <a:pt x="12242" y="41863"/>
                  </a:lnTo>
                  <a:lnTo>
                    <a:pt x="12309" y="41863"/>
                  </a:lnTo>
                  <a:lnTo>
                    <a:pt x="12376" y="41830"/>
                  </a:lnTo>
                  <a:lnTo>
                    <a:pt x="14044" y="40562"/>
                  </a:lnTo>
                  <a:cubicBezTo>
                    <a:pt x="14577" y="40162"/>
                    <a:pt x="15144" y="39728"/>
                    <a:pt x="15645" y="39261"/>
                  </a:cubicBezTo>
                  <a:cubicBezTo>
                    <a:pt x="16679" y="38361"/>
                    <a:pt x="17613" y="37360"/>
                    <a:pt x="18480" y="36293"/>
                  </a:cubicBezTo>
                  <a:cubicBezTo>
                    <a:pt x="19381" y="35259"/>
                    <a:pt x="20115" y="34124"/>
                    <a:pt x="20715" y="32924"/>
                  </a:cubicBezTo>
                  <a:cubicBezTo>
                    <a:pt x="21015" y="32323"/>
                    <a:pt x="21249" y="31689"/>
                    <a:pt x="21415" y="31056"/>
                  </a:cubicBezTo>
                  <a:cubicBezTo>
                    <a:pt x="21482" y="30722"/>
                    <a:pt x="21516" y="30388"/>
                    <a:pt x="21516" y="30055"/>
                  </a:cubicBezTo>
                  <a:cubicBezTo>
                    <a:pt x="21516" y="29688"/>
                    <a:pt x="21382" y="29354"/>
                    <a:pt x="21149" y="29088"/>
                  </a:cubicBezTo>
                  <a:cubicBezTo>
                    <a:pt x="20909" y="28848"/>
                    <a:pt x="20615" y="28716"/>
                    <a:pt x="20291" y="28716"/>
                  </a:cubicBezTo>
                  <a:cubicBezTo>
                    <a:pt x="20255" y="28716"/>
                    <a:pt x="20218" y="28717"/>
                    <a:pt x="20181" y="28721"/>
                  </a:cubicBezTo>
                  <a:cubicBezTo>
                    <a:pt x="19848" y="28721"/>
                    <a:pt x="19514" y="28787"/>
                    <a:pt x="19214" y="28921"/>
                  </a:cubicBezTo>
                  <a:cubicBezTo>
                    <a:pt x="18613" y="29154"/>
                    <a:pt x="18013" y="29421"/>
                    <a:pt x="17479" y="29755"/>
                  </a:cubicBezTo>
                  <a:cubicBezTo>
                    <a:pt x="16946" y="30088"/>
                    <a:pt x="16379" y="30388"/>
                    <a:pt x="15811" y="30622"/>
                  </a:cubicBezTo>
                  <a:cubicBezTo>
                    <a:pt x="15795" y="30639"/>
                    <a:pt x="15770" y="30647"/>
                    <a:pt x="15745" y="30647"/>
                  </a:cubicBezTo>
                  <a:cubicBezTo>
                    <a:pt x="15720" y="30647"/>
                    <a:pt x="15695" y="30639"/>
                    <a:pt x="15678" y="30622"/>
                  </a:cubicBezTo>
                  <a:cubicBezTo>
                    <a:pt x="15678" y="30629"/>
                    <a:pt x="15675" y="30631"/>
                    <a:pt x="15671" y="30631"/>
                  </a:cubicBezTo>
                  <a:cubicBezTo>
                    <a:pt x="15654" y="30631"/>
                    <a:pt x="15611" y="30589"/>
                    <a:pt x="15611" y="30589"/>
                  </a:cubicBezTo>
                  <a:cubicBezTo>
                    <a:pt x="15578" y="30555"/>
                    <a:pt x="15578" y="30522"/>
                    <a:pt x="15578" y="30489"/>
                  </a:cubicBezTo>
                  <a:cubicBezTo>
                    <a:pt x="15511" y="30388"/>
                    <a:pt x="15511" y="30255"/>
                    <a:pt x="15578" y="30122"/>
                  </a:cubicBezTo>
                  <a:cubicBezTo>
                    <a:pt x="15678" y="29855"/>
                    <a:pt x="15845" y="29588"/>
                    <a:pt x="16012" y="29354"/>
                  </a:cubicBezTo>
                  <a:cubicBezTo>
                    <a:pt x="16679" y="28320"/>
                    <a:pt x="17279" y="27220"/>
                    <a:pt x="17780" y="26119"/>
                  </a:cubicBezTo>
                  <a:cubicBezTo>
                    <a:pt x="18013" y="25552"/>
                    <a:pt x="18213" y="24985"/>
                    <a:pt x="18347" y="24384"/>
                  </a:cubicBezTo>
                  <a:cubicBezTo>
                    <a:pt x="18513" y="23817"/>
                    <a:pt x="18480" y="23183"/>
                    <a:pt x="18247" y="22616"/>
                  </a:cubicBezTo>
                  <a:cubicBezTo>
                    <a:pt x="18113" y="22316"/>
                    <a:pt x="17913" y="22082"/>
                    <a:pt x="17613" y="21949"/>
                  </a:cubicBezTo>
                  <a:cubicBezTo>
                    <a:pt x="17346" y="21816"/>
                    <a:pt x="17046" y="21749"/>
                    <a:pt x="16745" y="21749"/>
                  </a:cubicBezTo>
                  <a:cubicBezTo>
                    <a:pt x="16178" y="21749"/>
                    <a:pt x="15611" y="21849"/>
                    <a:pt x="15044" y="22016"/>
                  </a:cubicBezTo>
                  <a:cubicBezTo>
                    <a:pt x="14511" y="22216"/>
                    <a:pt x="14010" y="22416"/>
                    <a:pt x="13476" y="22650"/>
                  </a:cubicBezTo>
                  <a:lnTo>
                    <a:pt x="12743" y="22983"/>
                  </a:lnTo>
                  <a:cubicBezTo>
                    <a:pt x="12626" y="23033"/>
                    <a:pt x="12492" y="23075"/>
                    <a:pt x="12380" y="23075"/>
                  </a:cubicBezTo>
                  <a:cubicBezTo>
                    <a:pt x="12267" y="23075"/>
                    <a:pt x="12176" y="23033"/>
                    <a:pt x="12142" y="22916"/>
                  </a:cubicBezTo>
                  <a:cubicBezTo>
                    <a:pt x="12075" y="22816"/>
                    <a:pt x="12075" y="22683"/>
                    <a:pt x="12109" y="22583"/>
                  </a:cubicBezTo>
                  <a:cubicBezTo>
                    <a:pt x="12142" y="22449"/>
                    <a:pt x="12176" y="22349"/>
                    <a:pt x="12242" y="22216"/>
                  </a:cubicBezTo>
                  <a:cubicBezTo>
                    <a:pt x="12342" y="21982"/>
                    <a:pt x="12442" y="21749"/>
                    <a:pt x="12542" y="21482"/>
                  </a:cubicBezTo>
                  <a:lnTo>
                    <a:pt x="13176" y="20048"/>
                  </a:lnTo>
                  <a:cubicBezTo>
                    <a:pt x="13577" y="19080"/>
                    <a:pt x="14010" y="18146"/>
                    <a:pt x="14377" y="17246"/>
                  </a:cubicBezTo>
                  <a:cubicBezTo>
                    <a:pt x="14744" y="16345"/>
                    <a:pt x="15211" y="15478"/>
                    <a:pt x="15378" y="14510"/>
                  </a:cubicBezTo>
                  <a:cubicBezTo>
                    <a:pt x="15445" y="14043"/>
                    <a:pt x="15445" y="13576"/>
                    <a:pt x="15278" y="13109"/>
                  </a:cubicBezTo>
                  <a:cubicBezTo>
                    <a:pt x="15111" y="12642"/>
                    <a:pt x="14777" y="12309"/>
                    <a:pt x="14344" y="12109"/>
                  </a:cubicBezTo>
                  <a:cubicBezTo>
                    <a:pt x="14222" y="12083"/>
                    <a:pt x="14100" y="12070"/>
                    <a:pt x="13979" y="12070"/>
                  </a:cubicBezTo>
                  <a:cubicBezTo>
                    <a:pt x="13637" y="12070"/>
                    <a:pt x="13305" y="12170"/>
                    <a:pt x="13009" y="12342"/>
                  </a:cubicBezTo>
                  <a:cubicBezTo>
                    <a:pt x="12643" y="12542"/>
                    <a:pt x="12276" y="12742"/>
                    <a:pt x="11942" y="13009"/>
                  </a:cubicBezTo>
                  <a:cubicBezTo>
                    <a:pt x="11775" y="13109"/>
                    <a:pt x="11575" y="13243"/>
                    <a:pt x="11408" y="13343"/>
                  </a:cubicBezTo>
                  <a:cubicBezTo>
                    <a:pt x="11242" y="13443"/>
                    <a:pt x="11075" y="13510"/>
                    <a:pt x="10875" y="13510"/>
                  </a:cubicBezTo>
                  <a:cubicBezTo>
                    <a:pt x="10508" y="13476"/>
                    <a:pt x="10274" y="13076"/>
                    <a:pt x="10174" y="12742"/>
                  </a:cubicBezTo>
                  <a:cubicBezTo>
                    <a:pt x="10107" y="10741"/>
                    <a:pt x="9941" y="8740"/>
                    <a:pt x="9640" y="6738"/>
                  </a:cubicBezTo>
                  <a:cubicBezTo>
                    <a:pt x="9407" y="5004"/>
                    <a:pt x="9207" y="3503"/>
                    <a:pt x="8740" y="2335"/>
                  </a:cubicBezTo>
                  <a:cubicBezTo>
                    <a:pt x="8573" y="1835"/>
                    <a:pt x="8306" y="1368"/>
                    <a:pt x="7973" y="934"/>
                  </a:cubicBezTo>
                  <a:cubicBezTo>
                    <a:pt x="7739" y="600"/>
                    <a:pt x="7439" y="367"/>
                    <a:pt x="7072" y="167"/>
                  </a:cubicBezTo>
                  <a:cubicBezTo>
                    <a:pt x="6872" y="67"/>
                    <a:pt x="6605" y="33"/>
                    <a:pt x="637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7" name="Google Shape;1492;g199c61c64ac_6_507"/>
            <p:cNvSpPr/>
            <p:nvPr/>
          </p:nvSpPr>
          <p:spPr>
            <a:xfrm>
              <a:off x="2230100" y="4038325"/>
              <a:ext cx="146800" cy="997425"/>
            </a:xfrm>
            <a:custGeom>
              <a:avLst/>
              <a:ahLst/>
              <a:rect l="l" t="t" r="r" b="b"/>
              <a:pathLst>
                <a:path w="5872" h="39897" extrusionOk="0">
                  <a:moveTo>
                    <a:pt x="0" y="1"/>
                  </a:moveTo>
                  <a:lnTo>
                    <a:pt x="0" y="34"/>
                  </a:lnTo>
                  <a:lnTo>
                    <a:pt x="34" y="334"/>
                  </a:lnTo>
                  <a:cubicBezTo>
                    <a:pt x="34" y="201"/>
                    <a:pt x="0" y="101"/>
                    <a:pt x="0" y="1"/>
                  </a:cubicBezTo>
                  <a:close/>
                  <a:moveTo>
                    <a:pt x="34" y="334"/>
                  </a:moveTo>
                  <a:lnTo>
                    <a:pt x="34" y="334"/>
                  </a:lnTo>
                  <a:cubicBezTo>
                    <a:pt x="67" y="635"/>
                    <a:pt x="134" y="1068"/>
                    <a:pt x="201" y="1602"/>
                  </a:cubicBezTo>
                  <a:cubicBezTo>
                    <a:pt x="367" y="2669"/>
                    <a:pt x="601" y="4237"/>
                    <a:pt x="901" y="6139"/>
                  </a:cubicBezTo>
                  <a:cubicBezTo>
                    <a:pt x="1468" y="10008"/>
                    <a:pt x="2202" y="15312"/>
                    <a:pt x="3036" y="21183"/>
                  </a:cubicBezTo>
                  <a:cubicBezTo>
                    <a:pt x="3870" y="27087"/>
                    <a:pt x="5204" y="36027"/>
                    <a:pt x="5805" y="39896"/>
                  </a:cubicBezTo>
                  <a:lnTo>
                    <a:pt x="5871" y="39863"/>
                  </a:lnTo>
                  <a:cubicBezTo>
                    <a:pt x="5304" y="36027"/>
                    <a:pt x="3970" y="27054"/>
                    <a:pt x="3136" y="21183"/>
                  </a:cubicBezTo>
                  <a:cubicBezTo>
                    <a:pt x="2302" y="15312"/>
                    <a:pt x="1535" y="9975"/>
                    <a:pt x="968" y="6139"/>
                  </a:cubicBezTo>
                  <a:cubicBezTo>
                    <a:pt x="668" y="4204"/>
                    <a:pt x="434" y="2669"/>
                    <a:pt x="234" y="1569"/>
                  </a:cubicBezTo>
                  <a:cubicBezTo>
                    <a:pt x="167" y="1035"/>
                    <a:pt x="100" y="635"/>
                    <a:pt x="34" y="3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8" name="Google Shape;1493;g199c61c64ac_6_507"/>
            <p:cNvSpPr/>
            <p:nvPr/>
          </p:nvSpPr>
          <p:spPr>
            <a:xfrm>
              <a:off x="2163375" y="4309350"/>
              <a:ext cx="121775" cy="105100"/>
            </a:xfrm>
            <a:custGeom>
              <a:avLst/>
              <a:ahLst/>
              <a:rect l="l" t="t" r="r" b="b"/>
              <a:pathLst>
                <a:path w="4871" h="4204" extrusionOk="0">
                  <a:moveTo>
                    <a:pt x="1" y="1"/>
                  </a:moveTo>
                  <a:cubicBezTo>
                    <a:pt x="34" y="68"/>
                    <a:pt x="101" y="134"/>
                    <a:pt x="168" y="201"/>
                  </a:cubicBezTo>
                  <a:lnTo>
                    <a:pt x="701" y="635"/>
                  </a:lnTo>
                  <a:lnTo>
                    <a:pt x="2403" y="2136"/>
                  </a:lnTo>
                  <a:cubicBezTo>
                    <a:pt x="3070" y="2736"/>
                    <a:pt x="3670" y="3270"/>
                    <a:pt x="4104" y="3670"/>
                  </a:cubicBezTo>
                  <a:cubicBezTo>
                    <a:pt x="4337" y="3837"/>
                    <a:pt x="4537" y="3970"/>
                    <a:pt x="4671" y="4070"/>
                  </a:cubicBezTo>
                  <a:cubicBezTo>
                    <a:pt x="4738" y="4137"/>
                    <a:pt x="4804" y="4171"/>
                    <a:pt x="4871" y="4204"/>
                  </a:cubicBezTo>
                  <a:cubicBezTo>
                    <a:pt x="4804" y="4137"/>
                    <a:pt x="4771" y="4070"/>
                    <a:pt x="4704" y="4037"/>
                  </a:cubicBezTo>
                  <a:lnTo>
                    <a:pt x="4170" y="3570"/>
                  </a:lnTo>
                  <a:lnTo>
                    <a:pt x="2469" y="2036"/>
                  </a:lnTo>
                  <a:cubicBezTo>
                    <a:pt x="1802" y="1435"/>
                    <a:pt x="1202" y="935"/>
                    <a:pt x="768" y="568"/>
                  </a:cubicBezTo>
                  <a:cubicBezTo>
                    <a:pt x="535" y="368"/>
                    <a:pt x="334" y="234"/>
                    <a:pt x="201" y="134"/>
                  </a:cubicBezTo>
                  <a:cubicBezTo>
                    <a:pt x="134" y="68"/>
                    <a:pt x="68" y="34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79" name="Google Shape;1494;g199c61c64ac_6_507"/>
            <p:cNvSpPr/>
            <p:nvPr/>
          </p:nvSpPr>
          <p:spPr>
            <a:xfrm>
              <a:off x="2291800" y="4267650"/>
              <a:ext cx="119275" cy="144300"/>
            </a:xfrm>
            <a:custGeom>
              <a:avLst/>
              <a:ahLst/>
              <a:rect l="l" t="t" r="r" b="b"/>
              <a:pathLst>
                <a:path w="4771" h="5772" extrusionOk="0">
                  <a:moveTo>
                    <a:pt x="4736" y="0"/>
                  </a:moveTo>
                  <a:cubicBezTo>
                    <a:pt x="4677" y="0"/>
                    <a:pt x="3620" y="1288"/>
                    <a:pt x="2336" y="2836"/>
                  </a:cubicBezTo>
                  <a:cubicBezTo>
                    <a:pt x="1035" y="4438"/>
                    <a:pt x="1" y="5738"/>
                    <a:pt x="34" y="5772"/>
                  </a:cubicBezTo>
                  <a:cubicBezTo>
                    <a:pt x="68" y="5772"/>
                    <a:pt x="1135" y="4504"/>
                    <a:pt x="2436" y="2903"/>
                  </a:cubicBezTo>
                  <a:cubicBezTo>
                    <a:pt x="3737" y="1335"/>
                    <a:pt x="4771" y="1"/>
                    <a:pt x="4738" y="1"/>
                  </a:cubicBezTo>
                  <a:cubicBezTo>
                    <a:pt x="4737" y="1"/>
                    <a:pt x="4737" y="0"/>
                    <a:pt x="473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0" name="Google Shape;1495;g199c61c64ac_6_507"/>
            <p:cNvSpPr/>
            <p:nvPr/>
          </p:nvSpPr>
          <p:spPr>
            <a:xfrm>
              <a:off x="2314325" y="4539525"/>
              <a:ext cx="130950" cy="99250"/>
            </a:xfrm>
            <a:custGeom>
              <a:avLst/>
              <a:ahLst/>
              <a:rect l="l" t="t" r="r" b="b"/>
              <a:pathLst>
                <a:path w="5238" h="3970" extrusionOk="0">
                  <a:moveTo>
                    <a:pt x="5238" y="1"/>
                  </a:moveTo>
                  <a:lnTo>
                    <a:pt x="5238" y="1"/>
                  </a:lnTo>
                  <a:cubicBezTo>
                    <a:pt x="5171" y="34"/>
                    <a:pt x="5104" y="101"/>
                    <a:pt x="5037" y="134"/>
                  </a:cubicBezTo>
                  <a:lnTo>
                    <a:pt x="4504" y="601"/>
                  </a:lnTo>
                  <a:cubicBezTo>
                    <a:pt x="4037" y="968"/>
                    <a:pt x="3403" y="1468"/>
                    <a:pt x="2669" y="2035"/>
                  </a:cubicBezTo>
                  <a:cubicBezTo>
                    <a:pt x="1935" y="2569"/>
                    <a:pt x="1268" y="3069"/>
                    <a:pt x="768" y="3403"/>
                  </a:cubicBezTo>
                  <a:lnTo>
                    <a:pt x="201" y="3803"/>
                  </a:lnTo>
                  <a:cubicBezTo>
                    <a:pt x="134" y="3870"/>
                    <a:pt x="67" y="3903"/>
                    <a:pt x="0" y="3970"/>
                  </a:cubicBezTo>
                  <a:cubicBezTo>
                    <a:pt x="67" y="3937"/>
                    <a:pt x="167" y="3903"/>
                    <a:pt x="234" y="3837"/>
                  </a:cubicBezTo>
                  <a:cubicBezTo>
                    <a:pt x="367" y="3737"/>
                    <a:pt x="568" y="3636"/>
                    <a:pt x="834" y="3470"/>
                  </a:cubicBezTo>
                  <a:cubicBezTo>
                    <a:pt x="1335" y="3136"/>
                    <a:pt x="2002" y="2669"/>
                    <a:pt x="2736" y="2135"/>
                  </a:cubicBezTo>
                  <a:cubicBezTo>
                    <a:pt x="3470" y="1568"/>
                    <a:pt x="4103" y="1068"/>
                    <a:pt x="4537" y="668"/>
                  </a:cubicBezTo>
                  <a:cubicBezTo>
                    <a:pt x="4771" y="468"/>
                    <a:pt x="4937" y="301"/>
                    <a:pt x="5071" y="167"/>
                  </a:cubicBezTo>
                  <a:cubicBezTo>
                    <a:pt x="5204" y="67"/>
                    <a:pt x="5238" y="1"/>
                    <a:pt x="523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1" name="Google Shape;1496;g199c61c64ac_6_507"/>
            <p:cNvSpPr/>
            <p:nvPr/>
          </p:nvSpPr>
          <p:spPr>
            <a:xfrm>
              <a:off x="2176725" y="4572050"/>
              <a:ext cx="137625" cy="65075"/>
            </a:xfrm>
            <a:custGeom>
              <a:avLst/>
              <a:ahLst/>
              <a:rect l="l" t="t" r="r" b="b"/>
              <a:pathLst>
                <a:path w="5505" h="2603" extrusionOk="0">
                  <a:moveTo>
                    <a:pt x="1" y="0"/>
                  </a:moveTo>
                  <a:cubicBezTo>
                    <a:pt x="67" y="34"/>
                    <a:pt x="134" y="67"/>
                    <a:pt x="201" y="101"/>
                  </a:cubicBezTo>
                  <a:cubicBezTo>
                    <a:pt x="334" y="201"/>
                    <a:pt x="534" y="301"/>
                    <a:pt x="801" y="401"/>
                  </a:cubicBezTo>
                  <a:cubicBezTo>
                    <a:pt x="1268" y="668"/>
                    <a:pt x="1969" y="1001"/>
                    <a:pt x="2736" y="1335"/>
                  </a:cubicBezTo>
                  <a:cubicBezTo>
                    <a:pt x="3503" y="1702"/>
                    <a:pt x="4170" y="2035"/>
                    <a:pt x="4671" y="2235"/>
                  </a:cubicBezTo>
                  <a:lnTo>
                    <a:pt x="5271" y="2502"/>
                  </a:lnTo>
                  <a:cubicBezTo>
                    <a:pt x="5338" y="2536"/>
                    <a:pt x="5438" y="2569"/>
                    <a:pt x="5504" y="2602"/>
                  </a:cubicBezTo>
                  <a:cubicBezTo>
                    <a:pt x="5438" y="2536"/>
                    <a:pt x="5371" y="2502"/>
                    <a:pt x="5304" y="2469"/>
                  </a:cubicBezTo>
                  <a:cubicBezTo>
                    <a:pt x="5171" y="2402"/>
                    <a:pt x="4971" y="2302"/>
                    <a:pt x="4704" y="2169"/>
                  </a:cubicBezTo>
                  <a:cubicBezTo>
                    <a:pt x="4237" y="1935"/>
                    <a:pt x="3536" y="1602"/>
                    <a:pt x="2769" y="1235"/>
                  </a:cubicBezTo>
                  <a:cubicBezTo>
                    <a:pt x="2035" y="868"/>
                    <a:pt x="1335" y="568"/>
                    <a:pt x="834" y="334"/>
                  </a:cubicBezTo>
                  <a:lnTo>
                    <a:pt x="234" y="67"/>
                  </a:lnTo>
                  <a:cubicBezTo>
                    <a:pt x="167" y="34"/>
                    <a:pt x="67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2" name="Google Shape;1497;g199c61c64ac_6_507"/>
            <p:cNvSpPr/>
            <p:nvPr/>
          </p:nvSpPr>
          <p:spPr>
            <a:xfrm>
              <a:off x="2170050" y="4774700"/>
              <a:ext cx="176825" cy="81750"/>
            </a:xfrm>
            <a:custGeom>
              <a:avLst/>
              <a:ahLst/>
              <a:rect l="l" t="t" r="r" b="b"/>
              <a:pathLst>
                <a:path w="7073" h="3270" extrusionOk="0">
                  <a:moveTo>
                    <a:pt x="1" y="0"/>
                  </a:moveTo>
                  <a:lnTo>
                    <a:pt x="1" y="0"/>
                  </a:lnTo>
                  <a:cubicBezTo>
                    <a:pt x="101" y="67"/>
                    <a:pt x="167" y="100"/>
                    <a:pt x="268" y="167"/>
                  </a:cubicBezTo>
                  <a:lnTo>
                    <a:pt x="1035" y="534"/>
                  </a:lnTo>
                  <a:cubicBezTo>
                    <a:pt x="1669" y="834"/>
                    <a:pt x="2569" y="1234"/>
                    <a:pt x="3537" y="1701"/>
                  </a:cubicBezTo>
                  <a:cubicBezTo>
                    <a:pt x="4504" y="2135"/>
                    <a:pt x="5371" y="2535"/>
                    <a:pt x="6038" y="2836"/>
                  </a:cubicBezTo>
                  <a:lnTo>
                    <a:pt x="6806" y="3169"/>
                  </a:lnTo>
                  <a:cubicBezTo>
                    <a:pt x="6872" y="3203"/>
                    <a:pt x="6972" y="3236"/>
                    <a:pt x="7072" y="3269"/>
                  </a:cubicBezTo>
                  <a:cubicBezTo>
                    <a:pt x="7006" y="3203"/>
                    <a:pt x="6906" y="3169"/>
                    <a:pt x="6806" y="3102"/>
                  </a:cubicBezTo>
                  <a:lnTo>
                    <a:pt x="6072" y="2736"/>
                  </a:lnTo>
                  <a:cubicBezTo>
                    <a:pt x="5438" y="2435"/>
                    <a:pt x="4537" y="2035"/>
                    <a:pt x="3570" y="1568"/>
                  </a:cubicBezTo>
                  <a:cubicBezTo>
                    <a:pt x="2603" y="1134"/>
                    <a:pt x="1702" y="734"/>
                    <a:pt x="1068" y="434"/>
                  </a:cubicBezTo>
                  <a:lnTo>
                    <a:pt x="301" y="100"/>
                  </a:lnTo>
                  <a:cubicBezTo>
                    <a:pt x="201" y="67"/>
                    <a:pt x="101" y="3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3" name="Google Shape;1498;g199c61c64ac_6_507"/>
            <p:cNvSpPr/>
            <p:nvPr/>
          </p:nvSpPr>
          <p:spPr>
            <a:xfrm>
              <a:off x="2343500" y="4723000"/>
              <a:ext cx="163475" cy="130100"/>
            </a:xfrm>
            <a:custGeom>
              <a:avLst/>
              <a:ahLst/>
              <a:rect l="l" t="t" r="r" b="b"/>
              <a:pathLst>
                <a:path w="6539" h="5204" extrusionOk="0">
                  <a:moveTo>
                    <a:pt x="6539" y="0"/>
                  </a:moveTo>
                  <a:lnTo>
                    <a:pt x="6539" y="0"/>
                  </a:lnTo>
                  <a:cubicBezTo>
                    <a:pt x="6439" y="67"/>
                    <a:pt x="6372" y="134"/>
                    <a:pt x="6305" y="200"/>
                  </a:cubicBezTo>
                  <a:lnTo>
                    <a:pt x="5605" y="767"/>
                  </a:lnTo>
                  <a:cubicBezTo>
                    <a:pt x="5038" y="1268"/>
                    <a:pt x="4237" y="1935"/>
                    <a:pt x="3337" y="2669"/>
                  </a:cubicBezTo>
                  <a:cubicBezTo>
                    <a:pt x="2436" y="3369"/>
                    <a:pt x="1602" y="4003"/>
                    <a:pt x="1002" y="4470"/>
                  </a:cubicBezTo>
                  <a:lnTo>
                    <a:pt x="268" y="5004"/>
                  </a:lnTo>
                  <a:cubicBezTo>
                    <a:pt x="168" y="5070"/>
                    <a:pt x="101" y="5137"/>
                    <a:pt x="1" y="5204"/>
                  </a:cubicBezTo>
                  <a:cubicBezTo>
                    <a:pt x="101" y="5170"/>
                    <a:pt x="201" y="5104"/>
                    <a:pt x="301" y="5037"/>
                  </a:cubicBezTo>
                  <a:cubicBezTo>
                    <a:pt x="468" y="4937"/>
                    <a:pt x="735" y="4737"/>
                    <a:pt x="1035" y="4537"/>
                  </a:cubicBezTo>
                  <a:cubicBezTo>
                    <a:pt x="1669" y="4103"/>
                    <a:pt x="2503" y="3469"/>
                    <a:pt x="3403" y="2769"/>
                  </a:cubicBezTo>
                  <a:cubicBezTo>
                    <a:pt x="4304" y="2035"/>
                    <a:pt x="5105" y="1368"/>
                    <a:pt x="5672" y="834"/>
                  </a:cubicBezTo>
                  <a:cubicBezTo>
                    <a:pt x="5939" y="601"/>
                    <a:pt x="6172" y="400"/>
                    <a:pt x="6305" y="234"/>
                  </a:cubicBezTo>
                  <a:cubicBezTo>
                    <a:pt x="6406" y="167"/>
                    <a:pt x="6472" y="100"/>
                    <a:pt x="653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4" name="Google Shape;1499;g199c61c64ac_6_507"/>
            <p:cNvSpPr/>
            <p:nvPr/>
          </p:nvSpPr>
          <p:spPr>
            <a:xfrm>
              <a:off x="2808000" y="3352000"/>
              <a:ext cx="1977275" cy="1677900"/>
            </a:xfrm>
            <a:custGeom>
              <a:avLst/>
              <a:ahLst/>
              <a:rect l="l" t="t" r="r" b="b"/>
              <a:pathLst>
                <a:path w="79091" h="67116" extrusionOk="0">
                  <a:moveTo>
                    <a:pt x="38862" y="1"/>
                  </a:moveTo>
                  <a:cubicBezTo>
                    <a:pt x="38862" y="1"/>
                    <a:pt x="38729" y="21716"/>
                    <a:pt x="34692" y="40096"/>
                  </a:cubicBezTo>
                  <a:cubicBezTo>
                    <a:pt x="34259" y="41931"/>
                    <a:pt x="32958" y="43465"/>
                    <a:pt x="31223" y="44166"/>
                  </a:cubicBezTo>
                  <a:cubicBezTo>
                    <a:pt x="27254" y="45834"/>
                    <a:pt x="23985" y="48769"/>
                    <a:pt x="21917" y="52538"/>
                  </a:cubicBezTo>
                  <a:cubicBezTo>
                    <a:pt x="20863" y="54412"/>
                    <a:pt x="18884" y="55541"/>
                    <a:pt x="16791" y="55541"/>
                  </a:cubicBezTo>
                  <a:cubicBezTo>
                    <a:pt x="16500" y="55541"/>
                    <a:pt x="16206" y="55519"/>
                    <a:pt x="15912" y="55474"/>
                  </a:cubicBezTo>
                  <a:cubicBezTo>
                    <a:pt x="15257" y="55384"/>
                    <a:pt x="14606" y="55341"/>
                    <a:pt x="13963" y="55341"/>
                  </a:cubicBezTo>
                  <a:cubicBezTo>
                    <a:pt x="7166" y="55341"/>
                    <a:pt x="1189" y="60196"/>
                    <a:pt x="1" y="67082"/>
                  </a:cubicBezTo>
                  <a:lnTo>
                    <a:pt x="79091" y="67116"/>
                  </a:lnTo>
                  <a:cubicBezTo>
                    <a:pt x="78090" y="62012"/>
                    <a:pt x="74721" y="57709"/>
                    <a:pt x="70018" y="55507"/>
                  </a:cubicBezTo>
                  <a:cubicBezTo>
                    <a:pt x="68283" y="54707"/>
                    <a:pt x="66382" y="54206"/>
                    <a:pt x="64480" y="54106"/>
                  </a:cubicBezTo>
                  <a:cubicBezTo>
                    <a:pt x="59076" y="53706"/>
                    <a:pt x="54006" y="51271"/>
                    <a:pt x="49970" y="47635"/>
                  </a:cubicBezTo>
                  <a:cubicBezTo>
                    <a:pt x="49770" y="47468"/>
                    <a:pt x="49636" y="47335"/>
                    <a:pt x="49470" y="47201"/>
                  </a:cubicBezTo>
                  <a:cubicBezTo>
                    <a:pt x="46868" y="45033"/>
                    <a:pt x="44166" y="41631"/>
                    <a:pt x="43632" y="38295"/>
                  </a:cubicBezTo>
                  <a:cubicBezTo>
                    <a:pt x="41531" y="25953"/>
                    <a:pt x="39996" y="8941"/>
                    <a:pt x="40096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5" name="Google Shape;1500;g199c61c64ac_6_507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6" name="Google Shape;1501;g199c61c64ac_6_507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7" name="Google Shape;1502;g199c61c64ac_6_507"/>
            <p:cNvSpPr/>
            <p:nvPr/>
          </p:nvSpPr>
          <p:spPr>
            <a:xfrm>
              <a:off x="3026500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8"/>
                    <a:pt x="0" y="134"/>
                  </a:cubicBezTo>
                  <a:cubicBezTo>
                    <a:pt x="0" y="168"/>
                    <a:pt x="3736" y="234"/>
                    <a:pt x="8340" y="234"/>
                  </a:cubicBezTo>
                  <a:cubicBezTo>
                    <a:pt x="12943" y="234"/>
                    <a:pt x="16679" y="168"/>
                    <a:pt x="16679" y="134"/>
                  </a:cubicBezTo>
                  <a:cubicBezTo>
                    <a:pt x="16679" y="68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8" name="Google Shape;1503;g199c61c64ac_6_507"/>
            <p:cNvSpPr/>
            <p:nvPr/>
          </p:nvSpPr>
          <p:spPr>
            <a:xfrm>
              <a:off x="3026500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36" y="0"/>
                    <a:pt x="0" y="34"/>
                    <a:pt x="0" y="100"/>
                  </a:cubicBezTo>
                  <a:cubicBezTo>
                    <a:pt x="0" y="167"/>
                    <a:pt x="3736" y="200"/>
                    <a:pt x="8340" y="200"/>
                  </a:cubicBezTo>
                  <a:cubicBezTo>
                    <a:pt x="12943" y="200"/>
                    <a:pt x="16679" y="167"/>
                    <a:pt x="16679" y="100"/>
                  </a:cubicBezTo>
                  <a:cubicBezTo>
                    <a:pt x="16679" y="34"/>
                    <a:pt x="12910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89" name="Google Shape;1504;g199c61c64ac_6_507"/>
            <p:cNvSpPr/>
            <p:nvPr/>
          </p:nvSpPr>
          <p:spPr>
            <a:xfrm>
              <a:off x="3324200" y="1714175"/>
              <a:ext cx="5875" cy="361950"/>
            </a:xfrm>
            <a:custGeom>
              <a:avLst/>
              <a:ahLst/>
              <a:rect l="l" t="t" r="r" b="b"/>
              <a:pathLst>
                <a:path w="235" h="14478" extrusionOk="0">
                  <a:moveTo>
                    <a:pt x="134" y="0"/>
                  </a:moveTo>
                  <a:cubicBezTo>
                    <a:pt x="68" y="0"/>
                    <a:pt x="1" y="3236"/>
                    <a:pt x="1" y="7239"/>
                  </a:cubicBezTo>
                  <a:cubicBezTo>
                    <a:pt x="1" y="11242"/>
                    <a:pt x="68" y="14477"/>
                    <a:pt x="134" y="14477"/>
                  </a:cubicBezTo>
                  <a:cubicBezTo>
                    <a:pt x="201" y="14477"/>
                    <a:pt x="234" y="11242"/>
                    <a:pt x="234" y="7239"/>
                  </a:cubicBezTo>
                  <a:cubicBezTo>
                    <a:pt x="234" y="3236"/>
                    <a:pt x="168" y="0"/>
                    <a:pt x="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0" name="Google Shape;1505;g199c61c64ac_6_507"/>
            <p:cNvSpPr/>
            <p:nvPr/>
          </p:nvSpPr>
          <p:spPr>
            <a:xfrm>
              <a:off x="3244150" y="1804225"/>
              <a:ext cx="34225" cy="29500"/>
            </a:xfrm>
            <a:custGeom>
              <a:avLst/>
              <a:ahLst/>
              <a:rect l="l" t="t" r="r" b="b"/>
              <a:pathLst>
                <a:path w="1369" h="1180" extrusionOk="0">
                  <a:moveTo>
                    <a:pt x="768" y="1"/>
                  </a:moveTo>
                  <a:cubicBezTo>
                    <a:pt x="268" y="1"/>
                    <a:pt x="1" y="635"/>
                    <a:pt x="368" y="1002"/>
                  </a:cubicBezTo>
                  <a:cubicBezTo>
                    <a:pt x="490" y="1124"/>
                    <a:pt x="642" y="1179"/>
                    <a:pt x="790" y="1179"/>
                  </a:cubicBezTo>
                  <a:cubicBezTo>
                    <a:pt x="1087" y="1179"/>
                    <a:pt x="1368" y="957"/>
                    <a:pt x="1368" y="601"/>
                  </a:cubicBezTo>
                  <a:cubicBezTo>
                    <a:pt x="1368" y="268"/>
                    <a:pt x="1101" y="1"/>
                    <a:pt x="7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1" name="Google Shape;1506;g199c61c64ac_6_507"/>
            <p:cNvSpPr/>
            <p:nvPr/>
          </p:nvSpPr>
          <p:spPr>
            <a:xfrm>
              <a:off x="3244150" y="1929325"/>
              <a:ext cx="34225" cy="29850"/>
            </a:xfrm>
            <a:custGeom>
              <a:avLst/>
              <a:ahLst/>
              <a:rect l="l" t="t" r="r" b="b"/>
              <a:pathLst>
                <a:path w="1369" h="1194" extrusionOk="0">
                  <a:moveTo>
                    <a:pt x="768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90" y="1135"/>
                    <a:pt x="642" y="1194"/>
                    <a:pt x="790" y="1194"/>
                  </a:cubicBezTo>
                  <a:cubicBezTo>
                    <a:pt x="1087" y="1194"/>
                    <a:pt x="1368" y="957"/>
                    <a:pt x="1368" y="601"/>
                  </a:cubicBezTo>
                  <a:cubicBezTo>
                    <a:pt x="1368" y="267"/>
                    <a:pt x="1101" y="0"/>
                    <a:pt x="7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2" name="Google Shape;1507;g199c61c64ac_6_507"/>
            <p:cNvSpPr/>
            <p:nvPr/>
          </p:nvSpPr>
          <p:spPr>
            <a:xfrm>
              <a:off x="3026500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7"/>
                    <a:pt x="0" y="134"/>
                  </a:cubicBezTo>
                  <a:cubicBezTo>
                    <a:pt x="0" y="167"/>
                    <a:pt x="3736" y="234"/>
                    <a:pt x="8340" y="234"/>
                  </a:cubicBezTo>
                  <a:cubicBezTo>
                    <a:pt x="12943" y="234"/>
                    <a:pt x="16679" y="167"/>
                    <a:pt x="16679" y="134"/>
                  </a:cubicBezTo>
                  <a:cubicBezTo>
                    <a:pt x="16679" y="34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3" name="Google Shape;1508;g199c61c64ac_6_507"/>
            <p:cNvSpPr/>
            <p:nvPr/>
          </p:nvSpPr>
          <p:spPr>
            <a:xfrm>
              <a:off x="3324200" y="2450525"/>
              <a:ext cx="5875" cy="362800"/>
            </a:xfrm>
            <a:custGeom>
              <a:avLst/>
              <a:ahLst/>
              <a:rect l="l" t="t" r="r" b="b"/>
              <a:pathLst>
                <a:path w="235" h="14512" extrusionOk="0">
                  <a:moveTo>
                    <a:pt x="134" y="1"/>
                  </a:moveTo>
                  <a:cubicBezTo>
                    <a:pt x="68" y="1"/>
                    <a:pt x="1" y="3270"/>
                    <a:pt x="1" y="7239"/>
                  </a:cubicBezTo>
                  <a:cubicBezTo>
                    <a:pt x="1" y="11242"/>
                    <a:pt x="68" y="14511"/>
                    <a:pt x="134" y="14511"/>
                  </a:cubicBezTo>
                  <a:cubicBezTo>
                    <a:pt x="201" y="14511"/>
                    <a:pt x="234" y="11242"/>
                    <a:pt x="234" y="7239"/>
                  </a:cubicBezTo>
                  <a:cubicBezTo>
                    <a:pt x="234" y="3236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4" name="Google Shape;1509;g199c61c64ac_6_507"/>
            <p:cNvSpPr/>
            <p:nvPr/>
          </p:nvSpPr>
          <p:spPr>
            <a:xfrm>
              <a:off x="3249150" y="2541425"/>
              <a:ext cx="29225" cy="29225"/>
            </a:xfrm>
            <a:custGeom>
              <a:avLst/>
              <a:ahLst/>
              <a:rect l="l" t="t" r="r" b="b"/>
              <a:pathLst>
                <a:path w="1169" h="1169" extrusionOk="0">
                  <a:moveTo>
                    <a:pt x="568" y="1"/>
                  </a:moveTo>
                  <a:cubicBezTo>
                    <a:pt x="268" y="1"/>
                    <a:pt x="1" y="234"/>
                    <a:pt x="1" y="568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5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5" name="Google Shape;1510;g199c61c64ac_6_507"/>
            <p:cNvSpPr/>
            <p:nvPr/>
          </p:nvSpPr>
          <p:spPr>
            <a:xfrm>
              <a:off x="3249150" y="2666525"/>
              <a:ext cx="29225" cy="29200"/>
            </a:xfrm>
            <a:custGeom>
              <a:avLst/>
              <a:ahLst/>
              <a:rect l="l" t="t" r="r" b="b"/>
              <a:pathLst>
                <a:path w="1169" h="1168" extrusionOk="0">
                  <a:moveTo>
                    <a:pt x="568" y="0"/>
                  </a:moveTo>
                  <a:cubicBezTo>
                    <a:pt x="268" y="0"/>
                    <a:pt x="1" y="267"/>
                    <a:pt x="1" y="567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6" name="Google Shape;1511;g199c61c64ac_6_507"/>
            <p:cNvSpPr/>
            <p:nvPr/>
          </p:nvSpPr>
          <p:spPr>
            <a:xfrm>
              <a:off x="3026500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0" y="34"/>
                    <a:pt x="0" y="101"/>
                  </a:cubicBezTo>
                  <a:cubicBezTo>
                    <a:pt x="0" y="134"/>
                    <a:pt x="3736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7" name="Google Shape;1512;g199c61c64ac_6_507"/>
            <p:cNvSpPr/>
            <p:nvPr/>
          </p:nvSpPr>
          <p:spPr>
            <a:xfrm>
              <a:off x="31399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3" y="1"/>
                    <a:pt x="0" y="3236"/>
                    <a:pt x="0" y="7239"/>
                  </a:cubicBezTo>
                  <a:cubicBezTo>
                    <a:pt x="0" y="11242"/>
                    <a:pt x="33" y="14478"/>
                    <a:pt x="100" y="14478"/>
                  </a:cubicBezTo>
                  <a:cubicBezTo>
                    <a:pt x="167" y="14478"/>
                    <a:pt x="200" y="11242"/>
                    <a:pt x="200" y="7239"/>
                  </a:cubicBezTo>
                  <a:cubicBezTo>
                    <a:pt x="200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8" name="Google Shape;1513;g199c61c64ac_6_507"/>
            <p:cNvSpPr/>
            <p:nvPr/>
          </p:nvSpPr>
          <p:spPr>
            <a:xfrm>
              <a:off x="3191625" y="2176175"/>
              <a:ext cx="34200" cy="29300"/>
            </a:xfrm>
            <a:custGeom>
              <a:avLst/>
              <a:ahLst/>
              <a:rect l="l" t="t" r="r" b="b"/>
              <a:pathLst>
                <a:path w="1368" h="1172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19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299" name="Google Shape;1514;g199c61c64ac_6_507"/>
            <p:cNvSpPr/>
            <p:nvPr/>
          </p:nvSpPr>
          <p:spPr>
            <a:xfrm>
              <a:off x="3191625" y="2301250"/>
              <a:ext cx="34200" cy="29325"/>
            </a:xfrm>
            <a:custGeom>
              <a:avLst/>
              <a:ahLst/>
              <a:rect l="l" t="t" r="r" b="b"/>
              <a:pathLst>
                <a:path w="1368" h="1173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20"/>
                    <a:pt x="1001" y="1001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0" name="Google Shape;1515;g199c61c64ac_6_507"/>
            <p:cNvSpPr/>
            <p:nvPr/>
          </p:nvSpPr>
          <p:spPr>
            <a:xfrm>
              <a:off x="3052350" y="1572400"/>
              <a:ext cx="99275" cy="177650"/>
            </a:xfrm>
            <a:custGeom>
              <a:avLst/>
              <a:ahLst/>
              <a:rect l="l" t="t" r="r" b="b"/>
              <a:pathLst>
                <a:path w="3971" h="7106" extrusionOk="0">
                  <a:moveTo>
                    <a:pt x="3937" y="1"/>
                  </a:moveTo>
                  <a:cubicBezTo>
                    <a:pt x="3837" y="1"/>
                    <a:pt x="3737" y="67"/>
                    <a:pt x="3636" y="134"/>
                  </a:cubicBezTo>
                  <a:cubicBezTo>
                    <a:pt x="3536" y="167"/>
                    <a:pt x="3403" y="234"/>
                    <a:pt x="3303" y="334"/>
                  </a:cubicBezTo>
                  <a:cubicBezTo>
                    <a:pt x="3169" y="401"/>
                    <a:pt x="3036" y="501"/>
                    <a:pt x="2903" y="634"/>
                  </a:cubicBezTo>
                  <a:cubicBezTo>
                    <a:pt x="2536" y="901"/>
                    <a:pt x="2235" y="1235"/>
                    <a:pt x="1935" y="1602"/>
                  </a:cubicBezTo>
                  <a:cubicBezTo>
                    <a:pt x="1602" y="2035"/>
                    <a:pt x="1301" y="2502"/>
                    <a:pt x="1035" y="3003"/>
                  </a:cubicBezTo>
                  <a:cubicBezTo>
                    <a:pt x="601" y="3903"/>
                    <a:pt x="301" y="4871"/>
                    <a:pt x="134" y="5838"/>
                  </a:cubicBezTo>
                  <a:cubicBezTo>
                    <a:pt x="67" y="6138"/>
                    <a:pt x="34" y="6438"/>
                    <a:pt x="1" y="6739"/>
                  </a:cubicBezTo>
                  <a:cubicBezTo>
                    <a:pt x="1" y="6872"/>
                    <a:pt x="1" y="6972"/>
                    <a:pt x="1" y="7106"/>
                  </a:cubicBezTo>
                  <a:cubicBezTo>
                    <a:pt x="67" y="7106"/>
                    <a:pt x="101" y="6605"/>
                    <a:pt x="267" y="5871"/>
                  </a:cubicBezTo>
                  <a:cubicBezTo>
                    <a:pt x="468" y="4904"/>
                    <a:pt x="801" y="3970"/>
                    <a:pt x="1235" y="3103"/>
                  </a:cubicBezTo>
                  <a:cubicBezTo>
                    <a:pt x="1468" y="2602"/>
                    <a:pt x="1768" y="2135"/>
                    <a:pt x="2102" y="1702"/>
                  </a:cubicBezTo>
                  <a:cubicBezTo>
                    <a:pt x="2369" y="1368"/>
                    <a:pt x="2669" y="1035"/>
                    <a:pt x="3003" y="734"/>
                  </a:cubicBezTo>
                  <a:cubicBezTo>
                    <a:pt x="3570" y="234"/>
                    <a:pt x="3970" y="34"/>
                    <a:pt x="393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1" name="Google Shape;1516;g199c61c64ac_6_507"/>
            <p:cNvSpPr/>
            <p:nvPr/>
          </p:nvSpPr>
          <p:spPr>
            <a:xfrm>
              <a:off x="3191625" y="1552800"/>
              <a:ext cx="30050" cy="7525"/>
            </a:xfrm>
            <a:custGeom>
              <a:avLst/>
              <a:ahLst/>
              <a:rect l="l" t="t" r="r" b="b"/>
              <a:pathLst>
                <a:path w="1202" h="301" extrusionOk="0">
                  <a:moveTo>
                    <a:pt x="1026" y="1"/>
                  </a:moveTo>
                  <a:cubicBezTo>
                    <a:pt x="917" y="1"/>
                    <a:pt x="767" y="17"/>
                    <a:pt x="601" y="51"/>
                  </a:cubicBezTo>
                  <a:cubicBezTo>
                    <a:pt x="267" y="117"/>
                    <a:pt x="0" y="217"/>
                    <a:pt x="0" y="251"/>
                  </a:cubicBezTo>
                  <a:cubicBezTo>
                    <a:pt x="17" y="284"/>
                    <a:pt x="92" y="301"/>
                    <a:pt x="204" y="301"/>
                  </a:cubicBezTo>
                  <a:cubicBezTo>
                    <a:pt x="317" y="301"/>
                    <a:pt x="467" y="284"/>
                    <a:pt x="634" y="251"/>
                  </a:cubicBezTo>
                  <a:cubicBezTo>
                    <a:pt x="968" y="217"/>
                    <a:pt x="1201" y="117"/>
                    <a:pt x="1201" y="51"/>
                  </a:cubicBezTo>
                  <a:cubicBezTo>
                    <a:pt x="1201" y="17"/>
                    <a:pt x="1134" y="1"/>
                    <a:pt x="1026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2" name="Google Shape;1517;g199c61c64ac_6_507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3" name="Google Shape;1518;g199c61c64ac_6_507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4" name="Google Shape;1519;g199c61c64ac_6_507"/>
            <p:cNvSpPr/>
            <p:nvPr/>
          </p:nvSpPr>
          <p:spPr>
            <a:xfrm>
              <a:off x="4114775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8"/>
                    <a:pt x="1" y="134"/>
                  </a:cubicBezTo>
                  <a:cubicBezTo>
                    <a:pt x="1" y="168"/>
                    <a:pt x="3737" y="234"/>
                    <a:pt x="8340" y="234"/>
                  </a:cubicBezTo>
                  <a:cubicBezTo>
                    <a:pt x="12976" y="234"/>
                    <a:pt x="16679" y="168"/>
                    <a:pt x="16679" y="134"/>
                  </a:cubicBezTo>
                  <a:cubicBezTo>
                    <a:pt x="16679" y="68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5" name="Google Shape;1520;g199c61c64ac_6_507"/>
            <p:cNvSpPr/>
            <p:nvPr/>
          </p:nvSpPr>
          <p:spPr>
            <a:xfrm>
              <a:off x="4114775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70" y="0"/>
                    <a:pt x="1" y="34"/>
                    <a:pt x="1" y="100"/>
                  </a:cubicBezTo>
                  <a:cubicBezTo>
                    <a:pt x="1" y="167"/>
                    <a:pt x="3737" y="200"/>
                    <a:pt x="8340" y="200"/>
                  </a:cubicBezTo>
                  <a:cubicBezTo>
                    <a:pt x="12976" y="200"/>
                    <a:pt x="16679" y="167"/>
                    <a:pt x="16679" y="100"/>
                  </a:cubicBezTo>
                  <a:cubicBezTo>
                    <a:pt x="16679" y="34"/>
                    <a:pt x="12943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6" name="Google Shape;1521;g199c61c64ac_6_507"/>
            <p:cNvSpPr/>
            <p:nvPr/>
          </p:nvSpPr>
          <p:spPr>
            <a:xfrm>
              <a:off x="4228200" y="1714175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0"/>
                  </a:moveTo>
                  <a:cubicBezTo>
                    <a:pt x="67" y="0"/>
                    <a:pt x="0" y="3236"/>
                    <a:pt x="0" y="7239"/>
                  </a:cubicBezTo>
                  <a:cubicBezTo>
                    <a:pt x="0" y="11242"/>
                    <a:pt x="67" y="14477"/>
                    <a:pt x="100" y="14477"/>
                  </a:cubicBezTo>
                  <a:cubicBezTo>
                    <a:pt x="167" y="14477"/>
                    <a:pt x="200" y="11242"/>
                    <a:pt x="200" y="7239"/>
                  </a:cubicBezTo>
                  <a:cubicBezTo>
                    <a:pt x="200" y="3236"/>
                    <a:pt x="167" y="0"/>
                    <a:pt x="10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7" name="Google Shape;1522;g199c61c64ac_6_507"/>
            <p:cNvSpPr/>
            <p:nvPr/>
          </p:nvSpPr>
          <p:spPr>
            <a:xfrm>
              <a:off x="4279900" y="1804225"/>
              <a:ext cx="34200" cy="29500"/>
            </a:xfrm>
            <a:custGeom>
              <a:avLst/>
              <a:ahLst/>
              <a:rect l="l" t="t" r="r" b="b"/>
              <a:pathLst>
                <a:path w="1368" h="1180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57"/>
                    <a:pt x="282" y="1179"/>
                    <a:pt x="578" y="1179"/>
                  </a:cubicBezTo>
                  <a:cubicBezTo>
                    <a:pt x="727" y="1179"/>
                    <a:pt x="879" y="1124"/>
                    <a:pt x="1001" y="1002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8" name="Google Shape;1523;g199c61c64ac_6_507"/>
            <p:cNvSpPr/>
            <p:nvPr/>
          </p:nvSpPr>
          <p:spPr>
            <a:xfrm>
              <a:off x="4279900" y="1929325"/>
              <a:ext cx="34200" cy="29850"/>
            </a:xfrm>
            <a:custGeom>
              <a:avLst/>
              <a:ahLst/>
              <a:rect l="l" t="t" r="r" b="b"/>
              <a:pathLst>
                <a:path w="1368" h="1194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57"/>
                    <a:pt x="282" y="1194"/>
                    <a:pt x="578" y="1194"/>
                  </a:cubicBezTo>
                  <a:cubicBezTo>
                    <a:pt x="727" y="1194"/>
                    <a:pt x="879" y="1135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09" name="Google Shape;1524;g199c61c64ac_6_507"/>
            <p:cNvSpPr/>
            <p:nvPr/>
          </p:nvSpPr>
          <p:spPr>
            <a:xfrm>
              <a:off x="4114775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7"/>
                    <a:pt x="1" y="134"/>
                  </a:cubicBezTo>
                  <a:cubicBezTo>
                    <a:pt x="1" y="167"/>
                    <a:pt x="3737" y="234"/>
                    <a:pt x="8340" y="234"/>
                  </a:cubicBezTo>
                  <a:cubicBezTo>
                    <a:pt x="12976" y="234"/>
                    <a:pt x="16679" y="167"/>
                    <a:pt x="16679" y="134"/>
                  </a:cubicBezTo>
                  <a:cubicBezTo>
                    <a:pt x="16679" y="6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0" name="Google Shape;1525;g199c61c64ac_6_507"/>
            <p:cNvSpPr/>
            <p:nvPr/>
          </p:nvSpPr>
          <p:spPr>
            <a:xfrm>
              <a:off x="4228200" y="2450525"/>
              <a:ext cx="5850" cy="362800"/>
            </a:xfrm>
            <a:custGeom>
              <a:avLst/>
              <a:ahLst/>
              <a:rect l="l" t="t" r="r" b="b"/>
              <a:pathLst>
                <a:path w="234" h="14512" extrusionOk="0">
                  <a:moveTo>
                    <a:pt x="100" y="1"/>
                  </a:moveTo>
                  <a:cubicBezTo>
                    <a:pt x="67" y="1"/>
                    <a:pt x="0" y="3270"/>
                    <a:pt x="0" y="7239"/>
                  </a:cubicBezTo>
                  <a:cubicBezTo>
                    <a:pt x="0" y="11242"/>
                    <a:pt x="67" y="14511"/>
                    <a:pt x="100" y="14511"/>
                  </a:cubicBezTo>
                  <a:cubicBezTo>
                    <a:pt x="167" y="14511"/>
                    <a:pt x="234" y="11242"/>
                    <a:pt x="234" y="7239"/>
                  </a:cubicBezTo>
                  <a:cubicBezTo>
                    <a:pt x="234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1" name="Google Shape;1526;g199c61c64ac_6_507"/>
            <p:cNvSpPr/>
            <p:nvPr/>
          </p:nvSpPr>
          <p:spPr>
            <a:xfrm>
              <a:off x="4279900" y="2541425"/>
              <a:ext cx="29200" cy="29225"/>
            </a:xfrm>
            <a:custGeom>
              <a:avLst/>
              <a:ahLst/>
              <a:rect l="l" t="t" r="r" b="b"/>
              <a:pathLst>
                <a:path w="1168" h="1169" extrusionOk="0">
                  <a:moveTo>
                    <a:pt x="601" y="1"/>
                  </a:moveTo>
                  <a:cubicBezTo>
                    <a:pt x="267" y="1"/>
                    <a:pt x="0" y="234"/>
                    <a:pt x="0" y="568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2" name="Google Shape;1527;g199c61c64ac_6_507"/>
            <p:cNvSpPr/>
            <p:nvPr/>
          </p:nvSpPr>
          <p:spPr>
            <a:xfrm>
              <a:off x="4279900" y="2666525"/>
              <a:ext cx="29200" cy="29200"/>
            </a:xfrm>
            <a:custGeom>
              <a:avLst/>
              <a:ahLst/>
              <a:rect l="l" t="t" r="r" b="b"/>
              <a:pathLst>
                <a:path w="1168" h="1168" extrusionOk="0">
                  <a:moveTo>
                    <a:pt x="601" y="0"/>
                  </a:moveTo>
                  <a:cubicBezTo>
                    <a:pt x="267" y="0"/>
                    <a:pt x="0" y="267"/>
                    <a:pt x="0" y="567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3" name="Google Shape;1528;g199c61c64ac_6_507"/>
            <p:cNvSpPr/>
            <p:nvPr/>
          </p:nvSpPr>
          <p:spPr>
            <a:xfrm>
              <a:off x="4114775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1" y="34"/>
                    <a:pt x="1" y="101"/>
                  </a:cubicBezTo>
                  <a:cubicBezTo>
                    <a:pt x="1" y="167"/>
                    <a:pt x="3737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4" name="Google Shape;1529;g199c61c64ac_6_507"/>
            <p:cNvSpPr/>
            <p:nvPr/>
          </p:nvSpPr>
          <p:spPr>
            <a:xfrm>
              <a:off x="44133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4" y="1"/>
                    <a:pt x="0" y="3236"/>
                    <a:pt x="0" y="7239"/>
                  </a:cubicBezTo>
                  <a:cubicBezTo>
                    <a:pt x="0" y="11242"/>
                    <a:pt x="34" y="14478"/>
                    <a:pt x="100" y="14478"/>
                  </a:cubicBezTo>
                  <a:cubicBezTo>
                    <a:pt x="167" y="14478"/>
                    <a:pt x="201" y="11242"/>
                    <a:pt x="201" y="7239"/>
                  </a:cubicBezTo>
                  <a:cubicBezTo>
                    <a:pt x="201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5" name="Google Shape;1530;g199c61c64ac_6_507"/>
            <p:cNvSpPr/>
            <p:nvPr/>
          </p:nvSpPr>
          <p:spPr>
            <a:xfrm>
              <a:off x="4332425" y="2176175"/>
              <a:ext cx="34225" cy="29300"/>
            </a:xfrm>
            <a:custGeom>
              <a:avLst/>
              <a:ahLst/>
              <a:rect l="l" t="t" r="r" b="b"/>
              <a:pathLst>
                <a:path w="1369" h="1172" extrusionOk="0">
                  <a:moveTo>
                    <a:pt x="801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86" y="1119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7"/>
                    <a:pt x="1102" y="0"/>
                    <a:pt x="8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6" name="Google Shape;1531;g199c61c64ac_6_507"/>
            <p:cNvSpPr/>
            <p:nvPr/>
          </p:nvSpPr>
          <p:spPr>
            <a:xfrm>
              <a:off x="4332425" y="2301250"/>
              <a:ext cx="34225" cy="29325"/>
            </a:xfrm>
            <a:custGeom>
              <a:avLst/>
              <a:ahLst/>
              <a:rect l="l" t="t" r="r" b="b"/>
              <a:pathLst>
                <a:path w="1369" h="1173" extrusionOk="0">
                  <a:moveTo>
                    <a:pt x="801" y="1"/>
                  </a:moveTo>
                  <a:cubicBezTo>
                    <a:pt x="268" y="1"/>
                    <a:pt x="1" y="635"/>
                    <a:pt x="368" y="1001"/>
                  </a:cubicBezTo>
                  <a:cubicBezTo>
                    <a:pt x="486" y="1120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8"/>
                    <a:pt x="1102" y="1"/>
                    <a:pt x="8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7" name="Google Shape;1532;g199c61c64ac_6_507"/>
            <p:cNvSpPr/>
            <p:nvPr/>
          </p:nvSpPr>
          <p:spPr>
            <a:xfrm>
              <a:off x="4405825" y="1572400"/>
              <a:ext cx="100100" cy="177650"/>
            </a:xfrm>
            <a:custGeom>
              <a:avLst/>
              <a:ahLst/>
              <a:rect l="l" t="t" r="r" b="b"/>
              <a:pathLst>
                <a:path w="4004" h="7106" extrusionOk="0">
                  <a:moveTo>
                    <a:pt x="34" y="1"/>
                  </a:moveTo>
                  <a:cubicBezTo>
                    <a:pt x="0" y="34"/>
                    <a:pt x="434" y="234"/>
                    <a:pt x="1001" y="734"/>
                  </a:cubicBezTo>
                  <a:cubicBezTo>
                    <a:pt x="1334" y="1035"/>
                    <a:pt x="1635" y="1368"/>
                    <a:pt x="1902" y="1702"/>
                  </a:cubicBezTo>
                  <a:cubicBezTo>
                    <a:pt x="2235" y="2135"/>
                    <a:pt x="2502" y="2602"/>
                    <a:pt x="2735" y="3103"/>
                  </a:cubicBezTo>
                  <a:cubicBezTo>
                    <a:pt x="3169" y="3970"/>
                    <a:pt x="3503" y="4904"/>
                    <a:pt x="3703" y="5871"/>
                  </a:cubicBezTo>
                  <a:cubicBezTo>
                    <a:pt x="3870" y="6639"/>
                    <a:pt x="3936" y="7106"/>
                    <a:pt x="3970" y="7106"/>
                  </a:cubicBezTo>
                  <a:cubicBezTo>
                    <a:pt x="4003" y="6972"/>
                    <a:pt x="4003" y="6872"/>
                    <a:pt x="3970" y="6739"/>
                  </a:cubicBezTo>
                  <a:cubicBezTo>
                    <a:pt x="3936" y="6438"/>
                    <a:pt x="3903" y="6138"/>
                    <a:pt x="3870" y="5838"/>
                  </a:cubicBezTo>
                  <a:cubicBezTo>
                    <a:pt x="3703" y="4871"/>
                    <a:pt x="3369" y="3903"/>
                    <a:pt x="2936" y="3003"/>
                  </a:cubicBezTo>
                  <a:cubicBezTo>
                    <a:pt x="2702" y="2502"/>
                    <a:pt x="2402" y="2035"/>
                    <a:pt x="2035" y="1602"/>
                  </a:cubicBezTo>
                  <a:cubicBezTo>
                    <a:pt x="1768" y="1235"/>
                    <a:pt x="1435" y="901"/>
                    <a:pt x="1101" y="634"/>
                  </a:cubicBezTo>
                  <a:cubicBezTo>
                    <a:pt x="968" y="501"/>
                    <a:pt x="801" y="401"/>
                    <a:pt x="667" y="334"/>
                  </a:cubicBezTo>
                  <a:cubicBezTo>
                    <a:pt x="567" y="234"/>
                    <a:pt x="467" y="167"/>
                    <a:pt x="334" y="134"/>
                  </a:cubicBezTo>
                  <a:cubicBezTo>
                    <a:pt x="234" y="67"/>
                    <a:pt x="134" y="1"/>
                    <a:pt x="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8" name="Google Shape;1533;g199c61c64ac_6_507"/>
            <p:cNvSpPr/>
            <p:nvPr/>
          </p:nvSpPr>
          <p:spPr>
            <a:xfrm>
              <a:off x="4335775" y="1552800"/>
              <a:ext cx="30875" cy="7750"/>
            </a:xfrm>
            <a:custGeom>
              <a:avLst/>
              <a:ahLst/>
              <a:rect l="l" t="t" r="r" b="b"/>
              <a:pathLst>
                <a:path w="1235" h="310" extrusionOk="0">
                  <a:moveTo>
                    <a:pt x="209" y="1"/>
                  </a:moveTo>
                  <a:cubicBezTo>
                    <a:pt x="100" y="1"/>
                    <a:pt x="34" y="17"/>
                    <a:pt x="34" y="51"/>
                  </a:cubicBezTo>
                  <a:cubicBezTo>
                    <a:pt x="0" y="117"/>
                    <a:pt x="267" y="217"/>
                    <a:pt x="601" y="284"/>
                  </a:cubicBezTo>
                  <a:cubicBezTo>
                    <a:pt x="767" y="301"/>
                    <a:pt x="918" y="309"/>
                    <a:pt x="1030" y="309"/>
                  </a:cubicBezTo>
                  <a:cubicBezTo>
                    <a:pt x="1143" y="309"/>
                    <a:pt x="1218" y="301"/>
                    <a:pt x="1234" y="284"/>
                  </a:cubicBezTo>
                  <a:cubicBezTo>
                    <a:pt x="1234" y="217"/>
                    <a:pt x="968" y="117"/>
                    <a:pt x="634" y="51"/>
                  </a:cubicBezTo>
                  <a:cubicBezTo>
                    <a:pt x="467" y="17"/>
                    <a:pt x="317" y="1"/>
                    <a:pt x="20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19" name="Google Shape;1534;g199c61c64ac_6_507"/>
            <p:cNvSpPr/>
            <p:nvPr/>
          </p:nvSpPr>
          <p:spPr>
            <a:xfrm>
              <a:off x="3443475" y="912750"/>
              <a:ext cx="674650" cy="2686950"/>
            </a:xfrm>
            <a:custGeom>
              <a:avLst/>
              <a:ahLst/>
              <a:rect l="l" t="t" r="r" b="b"/>
              <a:pathLst>
                <a:path w="26986" h="107478" extrusionOk="0">
                  <a:moveTo>
                    <a:pt x="12075" y="1"/>
                  </a:moveTo>
                  <a:cubicBezTo>
                    <a:pt x="10541" y="1"/>
                    <a:pt x="9140" y="902"/>
                    <a:pt x="8473" y="2269"/>
                  </a:cubicBezTo>
                  <a:lnTo>
                    <a:pt x="2635" y="13344"/>
                  </a:lnTo>
                  <a:cubicBezTo>
                    <a:pt x="901" y="16580"/>
                    <a:pt x="0" y="20215"/>
                    <a:pt x="0" y="23918"/>
                  </a:cubicBezTo>
                  <a:lnTo>
                    <a:pt x="0" y="100907"/>
                  </a:lnTo>
                  <a:lnTo>
                    <a:pt x="10274" y="107478"/>
                  </a:lnTo>
                  <a:lnTo>
                    <a:pt x="17379" y="107478"/>
                  </a:lnTo>
                  <a:lnTo>
                    <a:pt x="26986" y="100907"/>
                  </a:lnTo>
                  <a:lnTo>
                    <a:pt x="26986" y="24252"/>
                  </a:lnTo>
                  <a:cubicBezTo>
                    <a:pt x="26986" y="20716"/>
                    <a:pt x="26119" y="17213"/>
                    <a:pt x="24551" y="14078"/>
                  </a:cubicBezTo>
                  <a:lnTo>
                    <a:pt x="18580" y="2203"/>
                  </a:lnTo>
                  <a:cubicBezTo>
                    <a:pt x="17879" y="868"/>
                    <a:pt x="16512" y="1"/>
                    <a:pt x="1501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0" name="Google Shape;1535;g199c61c64ac_6_507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1" name="Google Shape;1536;g199c61c64ac_6_507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2" name="Google Shape;1537;g199c61c64ac_6_507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3" name="Google Shape;1538;g199c61c64ac_6_507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4" name="Google Shape;1539;g199c61c64ac_6_507"/>
            <p:cNvSpPr/>
            <p:nvPr/>
          </p:nvSpPr>
          <p:spPr>
            <a:xfrm>
              <a:off x="3487650" y="1640775"/>
              <a:ext cx="6700" cy="635500"/>
            </a:xfrm>
            <a:custGeom>
              <a:avLst/>
              <a:ahLst/>
              <a:rect l="l" t="t" r="r" b="b"/>
              <a:pathLst>
                <a:path w="268" h="25420" extrusionOk="0">
                  <a:moveTo>
                    <a:pt x="134" y="1"/>
                  </a:moveTo>
                  <a:cubicBezTo>
                    <a:pt x="68" y="1"/>
                    <a:pt x="1" y="5705"/>
                    <a:pt x="1" y="12710"/>
                  </a:cubicBezTo>
                  <a:cubicBezTo>
                    <a:pt x="1" y="19715"/>
                    <a:pt x="68" y="25419"/>
                    <a:pt x="134" y="25419"/>
                  </a:cubicBezTo>
                  <a:cubicBezTo>
                    <a:pt x="168" y="25419"/>
                    <a:pt x="268" y="19682"/>
                    <a:pt x="268" y="12710"/>
                  </a:cubicBezTo>
                  <a:cubicBezTo>
                    <a:pt x="268" y="5705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5" name="Google Shape;1540;g199c61c64ac_6_507"/>
            <p:cNvSpPr/>
            <p:nvPr/>
          </p:nvSpPr>
          <p:spPr>
            <a:xfrm>
              <a:off x="3494325" y="1453150"/>
              <a:ext cx="6700" cy="57575"/>
            </a:xfrm>
            <a:custGeom>
              <a:avLst/>
              <a:ahLst/>
              <a:rect l="l" t="t" r="r" b="b"/>
              <a:pathLst>
                <a:path w="268" h="2303" extrusionOk="0">
                  <a:moveTo>
                    <a:pt x="134" y="0"/>
                  </a:moveTo>
                  <a:cubicBezTo>
                    <a:pt x="34" y="367"/>
                    <a:pt x="1" y="768"/>
                    <a:pt x="34" y="1135"/>
                  </a:cubicBezTo>
                  <a:cubicBezTo>
                    <a:pt x="1" y="1535"/>
                    <a:pt x="34" y="1935"/>
                    <a:pt x="134" y="2302"/>
                  </a:cubicBezTo>
                  <a:cubicBezTo>
                    <a:pt x="234" y="1935"/>
                    <a:pt x="268" y="1535"/>
                    <a:pt x="234" y="1135"/>
                  </a:cubicBezTo>
                  <a:cubicBezTo>
                    <a:pt x="268" y="768"/>
                    <a:pt x="234" y="367"/>
                    <a:pt x="13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6" name="Google Shape;1541;g199c61c64ac_6_507"/>
            <p:cNvSpPr/>
            <p:nvPr/>
          </p:nvSpPr>
          <p:spPr>
            <a:xfrm>
              <a:off x="3502675" y="961125"/>
              <a:ext cx="205175" cy="393650"/>
            </a:xfrm>
            <a:custGeom>
              <a:avLst/>
              <a:ahLst/>
              <a:rect l="l" t="t" r="r" b="b"/>
              <a:pathLst>
                <a:path w="8207" h="15746" extrusionOk="0">
                  <a:moveTo>
                    <a:pt x="8139" y="0"/>
                  </a:moveTo>
                  <a:cubicBezTo>
                    <a:pt x="8089" y="0"/>
                    <a:pt x="6228" y="3524"/>
                    <a:pt x="4003" y="7840"/>
                  </a:cubicBezTo>
                  <a:cubicBezTo>
                    <a:pt x="1768" y="12176"/>
                    <a:pt x="0" y="15712"/>
                    <a:pt x="67" y="15745"/>
                  </a:cubicBezTo>
                  <a:cubicBezTo>
                    <a:pt x="67" y="15745"/>
                    <a:pt x="68" y="15746"/>
                    <a:pt x="68" y="15746"/>
                  </a:cubicBezTo>
                  <a:cubicBezTo>
                    <a:pt x="151" y="15746"/>
                    <a:pt x="1979" y="12256"/>
                    <a:pt x="4203" y="7940"/>
                  </a:cubicBezTo>
                  <a:cubicBezTo>
                    <a:pt x="6438" y="3570"/>
                    <a:pt x="8206" y="34"/>
                    <a:pt x="8140" y="1"/>
                  </a:cubicBezTo>
                  <a:cubicBezTo>
                    <a:pt x="8139" y="1"/>
                    <a:pt x="8139" y="0"/>
                    <a:pt x="813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7" name="Google Shape;1542;g199c61c64ac_6_507"/>
            <p:cNvSpPr/>
            <p:nvPr/>
          </p:nvSpPr>
          <p:spPr>
            <a:xfrm>
              <a:off x="2848050" y="2433850"/>
              <a:ext cx="525400" cy="808950"/>
            </a:xfrm>
            <a:custGeom>
              <a:avLst/>
              <a:ahLst/>
              <a:rect l="l" t="t" r="r" b="b"/>
              <a:pathLst>
                <a:path w="21016" h="32358" extrusionOk="0">
                  <a:moveTo>
                    <a:pt x="21015" y="1"/>
                  </a:moveTo>
                  <a:cubicBezTo>
                    <a:pt x="20982" y="34"/>
                    <a:pt x="20982" y="67"/>
                    <a:pt x="20982" y="101"/>
                  </a:cubicBezTo>
                  <a:cubicBezTo>
                    <a:pt x="20948" y="167"/>
                    <a:pt x="20948" y="234"/>
                    <a:pt x="20915" y="367"/>
                  </a:cubicBezTo>
                  <a:cubicBezTo>
                    <a:pt x="20882" y="501"/>
                    <a:pt x="20848" y="668"/>
                    <a:pt x="20815" y="834"/>
                  </a:cubicBezTo>
                  <a:cubicBezTo>
                    <a:pt x="20748" y="1068"/>
                    <a:pt x="20681" y="1268"/>
                    <a:pt x="20615" y="1502"/>
                  </a:cubicBezTo>
                  <a:cubicBezTo>
                    <a:pt x="20214" y="2836"/>
                    <a:pt x="19681" y="4137"/>
                    <a:pt x="18947" y="5338"/>
                  </a:cubicBezTo>
                  <a:cubicBezTo>
                    <a:pt x="17879" y="7139"/>
                    <a:pt x="16645" y="8807"/>
                    <a:pt x="15211" y="10308"/>
                  </a:cubicBezTo>
                  <a:cubicBezTo>
                    <a:pt x="13610" y="12042"/>
                    <a:pt x="11708" y="13810"/>
                    <a:pt x="9707" y="15645"/>
                  </a:cubicBezTo>
                  <a:cubicBezTo>
                    <a:pt x="7806" y="17380"/>
                    <a:pt x="6104" y="19281"/>
                    <a:pt x="4570" y="21349"/>
                  </a:cubicBezTo>
                  <a:cubicBezTo>
                    <a:pt x="3936" y="22250"/>
                    <a:pt x="3302" y="23217"/>
                    <a:pt x="2769" y="24185"/>
                  </a:cubicBezTo>
                  <a:cubicBezTo>
                    <a:pt x="2302" y="25018"/>
                    <a:pt x="1868" y="25919"/>
                    <a:pt x="1468" y="26820"/>
                  </a:cubicBezTo>
                  <a:cubicBezTo>
                    <a:pt x="934" y="28121"/>
                    <a:pt x="534" y="29455"/>
                    <a:pt x="234" y="30856"/>
                  </a:cubicBezTo>
                  <a:cubicBezTo>
                    <a:pt x="133" y="31323"/>
                    <a:pt x="67" y="31723"/>
                    <a:pt x="33" y="31990"/>
                  </a:cubicBezTo>
                  <a:lnTo>
                    <a:pt x="0" y="32257"/>
                  </a:lnTo>
                  <a:cubicBezTo>
                    <a:pt x="0" y="32290"/>
                    <a:pt x="0" y="32324"/>
                    <a:pt x="0" y="32357"/>
                  </a:cubicBezTo>
                  <a:cubicBezTo>
                    <a:pt x="0" y="32324"/>
                    <a:pt x="33" y="32290"/>
                    <a:pt x="33" y="32257"/>
                  </a:cubicBezTo>
                  <a:lnTo>
                    <a:pt x="100" y="31990"/>
                  </a:lnTo>
                  <a:cubicBezTo>
                    <a:pt x="133" y="31723"/>
                    <a:pt x="200" y="31356"/>
                    <a:pt x="334" y="30856"/>
                  </a:cubicBezTo>
                  <a:cubicBezTo>
                    <a:pt x="634" y="29488"/>
                    <a:pt x="1101" y="28154"/>
                    <a:pt x="1635" y="26886"/>
                  </a:cubicBezTo>
                  <a:cubicBezTo>
                    <a:pt x="2035" y="25986"/>
                    <a:pt x="2468" y="25119"/>
                    <a:pt x="2935" y="24285"/>
                  </a:cubicBezTo>
                  <a:cubicBezTo>
                    <a:pt x="3503" y="23317"/>
                    <a:pt x="4103" y="22383"/>
                    <a:pt x="4770" y="21483"/>
                  </a:cubicBezTo>
                  <a:cubicBezTo>
                    <a:pt x="6271" y="19414"/>
                    <a:pt x="8006" y="17513"/>
                    <a:pt x="9874" y="15812"/>
                  </a:cubicBezTo>
                  <a:cubicBezTo>
                    <a:pt x="11875" y="13977"/>
                    <a:pt x="13777" y="12209"/>
                    <a:pt x="15378" y="10441"/>
                  </a:cubicBezTo>
                  <a:cubicBezTo>
                    <a:pt x="16812" y="8907"/>
                    <a:pt x="18046" y="7239"/>
                    <a:pt x="19080" y="5404"/>
                  </a:cubicBezTo>
                  <a:cubicBezTo>
                    <a:pt x="19814" y="4170"/>
                    <a:pt x="20348" y="2869"/>
                    <a:pt x="20715" y="1502"/>
                  </a:cubicBezTo>
                  <a:cubicBezTo>
                    <a:pt x="20782" y="1301"/>
                    <a:pt x="20815" y="1068"/>
                    <a:pt x="20882" y="868"/>
                  </a:cubicBezTo>
                  <a:lnTo>
                    <a:pt x="20948" y="401"/>
                  </a:lnTo>
                  <a:cubicBezTo>
                    <a:pt x="20982" y="267"/>
                    <a:pt x="21015" y="167"/>
                    <a:pt x="21015" y="101"/>
                  </a:cubicBezTo>
                  <a:cubicBezTo>
                    <a:pt x="21015" y="67"/>
                    <a:pt x="21015" y="34"/>
                    <a:pt x="21015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8" name="Google Shape;1543;g199c61c64ac_6_507"/>
            <p:cNvSpPr/>
            <p:nvPr/>
          </p:nvSpPr>
          <p:spPr>
            <a:xfrm>
              <a:off x="3602750" y="1328900"/>
              <a:ext cx="355275" cy="244350"/>
            </a:xfrm>
            <a:custGeom>
              <a:avLst/>
              <a:ahLst/>
              <a:rect l="l" t="t" r="r" b="b"/>
              <a:pathLst>
                <a:path w="14211" h="9774" extrusionOk="0">
                  <a:moveTo>
                    <a:pt x="4870" y="0"/>
                  </a:moveTo>
                  <a:cubicBezTo>
                    <a:pt x="2168" y="0"/>
                    <a:pt x="0" y="2202"/>
                    <a:pt x="0" y="4904"/>
                  </a:cubicBezTo>
                  <a:cubicBezTo>
                    <a:pt x="0" y="7606"/>
                    <a:pt x="2168" y="9774"/>
                    <a:pt x="4870" y="9774"/>
                  </a:cubicBezTo>
                  <a:lnTo>
                    <a:pt x="9340" y="9774"/>
                  </a:lnTo>
                  <a:cubicBezTo>
                    <a:pt x="12042" y="9774"/>
                    <a:pt x="14210" y="7606"/>
                    <a:pt x="14210" y="4904"/>
                  </a:cubicBezTo>
                  <a:cubicBezTo>
                    <a:pt x="14210" y="2202"/>
                    <a:pt x="12042" y="0"/>
                    <a:pt x="9340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29" name="Google Shape;1544;g199c61c64ac_6_507"/>
            <p:cNvSpPr/>
            <p:nvPr/>
          </p:nvSpPr>
          <p:spPr>
            <a:xfrm>
              <a:off x="3443475" y="3367850"/>
              <a:ext cx="674650" cy="231850"/>
            </a:xfrm>
            <a:custGeom>
              <a:avLst/>
              <a:ahLst/>
              <a:rect l="l" t="t" r="r" b="b"/>
              <a:pathLst>
                <a:path w="26986" h="9274" extrusionOk="0">
                  <a:moveTo>
                    <a:pt x="0" y="1"/>
                  </a:moveTo>
                  <a:lnTo>
                    <a:pt x="0" y="2703"/>
                  </a:lnTo>
                  <a:lnTo>
                    <a:pt x="10274" y="9274"/>
                  </a:lnTo>
                  <a:lnTo>
                    <a:pt x="17379" y="9274"/>
                  </a:lnTo>
                  <a:lnTo>
                    <a:pt x="26986" y="2703"/>
                  </a:lnTo>
                  <a:lnTo>
                    <a:pt x="2698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01" name="Google Shape;1545;g199c61c64ac_6_507"/>
          <p:cNvGrpSpPr/>
          <p:nvPr/>
        </p:nvGrpSpPr>
        <p:grpSpPr>
          <a:xfrm>
            <a:off x="415580" y="5627780"/>
            <a:ext cx="890783" cy="1193594"/>
            <a:chOff x="122038" y="7256930"/>
            <a:chExt cx="668104" cy="895218"/>
          </a:xfrm>
        </p:grpSpPr>
        <p:sp>
          <p:nvSpPr>
            <p:cNvPr id="1049330" name="Google Shape;1546;g199c61c64ac_6_50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31" name="Google Shape;1547;g199c61c64ac_6_50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32" name="Google Shape;1548;g199c61c64ac_6_50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33" name="Google Shape;1549;g199c61c64ac_6_50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34" name="Google Shape;1550;g199c61c64ac_6_50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35" name="Google Shape;1551;g199c61c64ac_6_50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336" name="Google Shape;1552;g199c61c64ac_6_507"/>
          <p:cNvSpPr/>
          <p:nvPr/>
        </p:nvSpPr>
        <p:spPr>
          <a:xfrm>
            <a:off x="1341011" y="4539217"/>
            <a:ext cx="2388989" cy="247050"/>
          </a:xfrm>
          <a:prstGeom prst="roundRect">
            <a:avLst>
              <a:gd name="adj" fmla="val 16667"/>
            </a:avLst>
          </a:prstGeom>
          <a:solidFill>
            <a:srgbClr val="FFFF00">
              <a:alpha val="51764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1049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04" name="Shape 1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40" name="Google Shape;1557;g199c61c64ac_6_600"/>
          <p:cNvSpPr txBox="1"/>
          <p:nvPr/>
        </p:nvSpPr>
        <p:spPr>
          <a:xfrm>
            <a:off x="5257800" y="1606075"/>
            <a:ext cx="6429300" cy="13599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8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n_estimators = [1000]</a:t>
            </a:r>
            <a:endParaRPr b="1" sz="18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indent="0" lvl="0" marL="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b="1" sz="18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earning_rate = [float(x) for x in np.linspace(0.001, 0.1, 20)]</a:t>
            </a:r>
            <a:endParaRPr b="1" sz="18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341" name="Google Shape;1558;g199c61c64ac_6_600"/>
          <p:cNvSpPr txBox="1"/>
          <p:nvPr/>
        </p:nvSpPr>
        <p:spPr>
          <a:xfrm>
            <a:off x="4588561" y="2682129"/>
            <a:ext cx="7437000" cy="27330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classification_report after tuning: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    precision    recall  f1-score   support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0       1.00      0.91      0.95       800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       1       0.70      0.98      0.82       1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 accuracy                           0.93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   macro avg       0.85      0.95      0.88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0" sz="1400" i="0" lang="en-ID" strike="noStrike" u="none">
                <a:solidFill>
                  <a:srgbClr val="000000"/>
                </a:solidFill>
                <a:latin typeface="Courier New"/>
                <a:ea typeface="Courier New"/>
                <a:cs typeface="Courier New"/>
                <a:sym typeface="Courier New"/>
              </a:rPr>
              <a:t>weighted avg       0.95      0.93      0.93       962</a:t>
            </a:r>
            <a:endParaRPr b="0"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br>
              <a:rPr b="0" sz="1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b="0" sz="1400" i="0" lang="en-ID" strike="noStrike" u="none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Courier New"/>
                <a:cs typeface="Courier New"/>
                <a:sym typeface="Courier New"/>
              </a:rPr>
              <a:t>Recall 0.9814814814814815</a:t>
            </a:r>
            <a:endParaRPr b="0" sz="1400" i="0" strike="noStrike" u="none">
              <a:solidFill>
                <a:srgbClr val="000000"/>
              </a:solidFill>
              <a:highlight>
                <a:srgbClr val="FFFF00"/>
              </a:highlight>
              <a:latin typeface="Courier New"/>
              <a:ea typeface="Courier New"/>
              <a:cs typeface="Courier New"/>
              <a:sym typeface="Courier New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>
              <a:highlight>
                <a:srgbClr val="FFFF00"/>
              </a:highlight>
              <a:latin typeface="Courier New"/>
              <a:ea typeface="Courier New"/>
              <a:cs typeface="Courier New"/>
              <a:sym typeface="Courier New"/>
            </a:endParaRPr>
          </a:p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D">
                <a:highlight>
                  <a:srgbClr val="FFFF00"/>
                </a:highlight>
                <a:latin typeface="Courier New"/>
                <a:ea typeface="Courier New"/>
                <a:cs typeface="Courier New"/>
                <a:sym typeface="Courier New"/>
              </a:rPr>
              <a:t> Recall 98%</a:t>
            </a:r>
            <a:endParaRPr>
              <a:highlight>
                <a:srgbClr val="FFFF00"/>
              </a:highlight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049342" name="Google Shape;1559;g199c61c64ac_6_600"/>
          <p:cNvSpPr txBox="1">
            <a:spLocks noGrp="1"/>
          </p:cNvSpPr>
          <p:nvPr>
            <p:ph type="title"/>
          </p:nvPr>
        </p:nvSpPr>
        <p:spPr>
          <a:xfrm>
            <a:off x="-180214" y="499590"/>
            <a:ext cx="12488945" cy="669679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32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atBoost Classifier + Undersampling + Tuning </a:t>
            </a:r>
            <a:endParaRPr b="0" cap="none" sz="3200" i="0" strike="noStrike" u="none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305" name="Google Shape;1560;g199c61c64ac_6_600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343" name="Google Shape;1561;g199c61c64ac_6_600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4" name="Google Shape;1562;g199c61c64ac_6_600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5" name="Google Shape;1563;g199c61c64ac_6_600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6" name="Google Shape;1564;g199c61c64ac_6_600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7" name="Google Shape;1565;g199c61c64ac_6_600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8" name="Google Shape;1566;g199c61c64ac_6_600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49" name="Google Shape;1567;g199c61c64ac_6_600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0" name="Google Shape;1568;g199c61c64ac_6_600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1" name="Google Shape;1569;g199c61c64ac_6_600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2" name="Google Shape;1570;g199c61c64ac_6_600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3" name="Google Shape;1571;g199c61c64ac_6_600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4" name="Google Shape;1572;g199c61c64ac_6_600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79" name="Google Shape;1573;g199c61c64ac_6_600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0" y="1622960"/>
            <a:ext cx="5002015" cy="4391475"/>
          </a:xfrm>
          <a:prstGeom prst="rect"/>
          <a:noFill/>
          <a:ln>
            <a:noFill/>
          </a:ln>
        </p:spPr>
      </p:pic>
      <p:grpSp>
        <p:nvGrpSpPr>
          <p:cNvPr id="306" name="Google Shape;1574;g199c61c64ac_6_600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9355" name="Google Shape;1575;g199c61c64ac_6_600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6" name="Google Shape;1576;g199c61c64ac_6_600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7" name="Google Shape;1577;g199c61c64ac_6_600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8" name="Google Shape;1578;g199c61c64ac_6_600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59" name="Google Shape;1579;g199c61c64ac_6_600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0" name="Google Shape;1580;g199c61c64ac_6_600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361" name="Google Shape;1581;g199c61c64ac_6_600"/>
          <p:cNvSpPr/>
          <p:nvPr/>
        </p:nvSpPr>
        <p:spPr>
          <a:xfrm>
            <a:off x="1341011" y="4600177"/>
            <a:ext cx="2388989" cy="247050"/>
          </a:xfrm>
          <a:prstGeom prst="roundRect">
            <a:avLst>
              <a:gd name="adj" fmla="val 16667"/>
            </a:avLst>
          </a:prstGeom>
          <a:solidFill>
            <a:srgbClr val="FFFF00">
              <a:alpha val="51764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07" name="Google Shape;1582;g199c61c64ac_6_600"/>
          <p:cNvGrpSpPr/>
          <p:nvPr/>
        </p:nvGrpSpPr>
        <p:grpSpPr>
          <a:xfrm>
            <a:off x="383843" y="161790"/>
            <a:ext cx="1259757" cy="1470674"/>
            <a:chOff x="2059150" y="912750"/>
            <a:chExt cx="3531700" cy="4123000"/>
          </a:xfrm>
        </p:grpSpPr>
        <p:sp>
          <p:nvSpPr>
            <p:cNvPr id="1049362" name="Google Shape;1583;g199c61c64ac_6_600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3" name="Google Shape;1584;g199c61c64ac_6_600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4" name="Google Shape;1585;g199c61c64ac_6_600"/>
            <p:cNvSpPr/>
            <p:nvPr/>
          </p:nvSpPr>
          <p:spPr>
            <a:xfrm>
              <a:off x="5423200" y="4799975"/>
              <a:ext cx="167650" cy="101600"/>
            </a:xfrm>
            <a:custGeom>
              <a:avLst/>
              <a:ahLst/>
              <a:rect l="l" t="t" r="r" b="b"/>
              <a:pathLst>
                <a:path w="6706" h="4064" extrusionOk="0">
                  <a:moveTo>
                    <a:pt x="3595" y="1"/>
                  </a:moveTo>
                  <a:cubicBezTo>
                    <a:pt x="2794" y="1"/>
                    <a:pt x="2007" y="171"/>
                    <a:pt x="1302" y="524"/>
                  </a:cubicBezTo>
                  <a:cubicBezTo>
                    <a:pt x="668" y="824"/>
                    <a:pt x="234" y="1391"/>
                    <a:pt x="134" y="2058"/>
                  </a:cubicBezTo>
                  <a:cubicBezTo>
                    <a:pt x="1" y="2525"/>
                    <a:pt x="34" y="3059"/>
                    <a:pt x="268" y="3492"/>
                  </a:cubicBezTo>
                  <a:cubicBezTo>
                    <a:pt x="457" y="3844"/>
                    <a:pt x="843" y="4064"/>
                    <a:pt x="1231" y="4064"/>
                  </a:cubicBezTo>
                  <a:cubicBezTo>
                    <a:pt x="1322" y="4064"/>
                    <a:pt x="1413" y="4052"/>
                    <a:pt x="1502" y="4026"/>
                  </a:cubicBezTo>
                  <a:cubicBezTo>
                    <a:pt x="2002" y="3893"/>
                    <a:pt x="2236" y="3392"/>
                    <a:pt x="2669" y="3092"/>
                  </a:cubicBezTo>
                  <a:cubicBezTo>
                    <a:pt x="3101" y="2764"/>
                    <a:pt x="3633" y="2701"/>
                    <a:pt x="4180" y="2701"/>
                  </a:cubicBezTo>
                  <a:cubicBezTo>
                    <a:pt x="4523" y="2701"/>
                    <a:pt x="4871" y="2725"/>
                    <a:pt x="5205" y="2725"/>
                  </a:cubicBezTo>
                  <a:cubicBezTo>
                    <a:pt x="5251" y="2729"/>
                    <a:pt x="5298" y="2732"/>
                    <a:pt x="5344" y="2732"/>
                  </a:cubicBezTo>
                  <a:cubicBezTo>
                    <a:pt x="5664" y="2732"/>
                    <a:pt x="5977" y="2633"/>
                    <a:pt x="6239" y="2458"/>
                  </a:cubicBezTo>
                  <a:cubicBezTo>
                    <a:pt x="6706" y="2091"/>
                    <a:pt x="6639" y="1291"/>
                    <a:pt x="6239" y="824"/>
                  </a:cubicBezTo>
                  <a:cubicBezTo>
                    <a:pt x="5772" y="424"/>
                    <a:pt x="5205" y="157"/>
                    <a:pt x="4604" y="90"/>
                  </a:cubicBezTo>
                  <a:cubicBezTo>
                    <a:pt x="4269" y="31"/>
                    <a:pt x="3931" y="1"/>
                    <a:pt x="359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5" name="Google Shape;1586;g199c61c64ac_6_600"/>
            <p:cNvSpPr/>
            <p:nvPr/>
          </p:nvSpPr>
          <p:spPr>
            <a:xfrm>
              <a:off x="5173025" y="4544325"/>
              <a:ext cx="203500" cy="199775"/>
            </a:xfrm>
            <a:custGeom>
              <a:avLst/>
              <a:ahLst/>
              <a:rect l="l" t="t" r="r" b="b"/>
              <a:pathLst>
                <a:path w="8140" h="7991" extrusionOk="0">
                  <a:moveTo>
                    <a:pt x="1763" y="0"/>
                  </a:moveTo>
                  <a:cubicBezTo>
                    <a:pt x="1687" y="0"/>
                    <a:pt x="1611" y="3"/>
                    <a:pt x="1535" y="9"/>
                  </a:cubicBezTo>
                  <a:cubicBezTo>
                    <a:pt x="1035" y="9"/>
                    <a:pt x="601" y="276"/>
                    <a:pt x="334" y="709"/>
                  </a:cubicBezTo>
                  <a:cubicBezTo>
                    <a:pt x="1" y="1343"/>
                    <a:pt x="334" y="2110"/>
                    <a:pt x="668" y="2711"/>
                  </a:cubicBezTo>
                  <a:cubicBezTo>
                    <a:pt x="1268" y="3811"/>
                    <a:pt x="1969" y="4845"/>
                    <a:pt x="2736" y="5846"/>
                  </a:cubicBezTo>
                  <a:cubicBezTo>
                    <a:pt x="3336" y="6647"/>
                    <a:pt x="4037" y="7414"/>
                    <a:pt x="4971" y="7781"/>
                  </a:cubicBezTo>
                  <a:cubicBezTo>
                    <a:pt x="5347" y="7915"/>
                    <a:pt x="5729" y="7990"/>
                    <a:pt x="6083" y="7990"/>
                  </a:cubicBezTo>
                  <a:cubicBezTo>
                    <a:pt x="6609" y="7990"/>
                    <a:pt x="7074" y="7826"/>
                    <a:pt x="7373" y="7447"/>
                  </a:cubicBezTo>
                  <a:lnTo>
                    <a:pt x="7373" y="7447"/>
                  </a:lnTo>
                  <a:lnTo>
                    <a:pt x="7306" y="7547"/>
                  </a:lnTo>
                  <a:cubicBezTo>
                    <a:pt x="7940" y="6713"/>
                    <a:pt x="8140" y="5613"/>
                    <a:pt x="7806" y="4612"/>
                  </a:cubicBezTo>
                  <a:cubicBezTo>
                    <a:pt x="7439" y="3611"/>
                    <a:pt x="6839" y="2744"/>
                    <a:pt x="6038" y="2077"/>
                  </a:cubicBezTo>
                  <a:cubicBezTo>
                    <a:pt x="5138" y="1276"/>
                    <a:pt x="4070" y="642"/>
                    <a:pt x="2936" y="242"/>
                  </a:cubicBezTo>
                  <a:cubicBezTo>
                    <a:pt x="2545" y="74"/>
                    <a:pt x="2154" y="0"/>
                    <a:pt x="1763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6" name="Google Shape;1587;g199c61c64ac_6_600"/>
            <p:cNvSpPr/>
            <p:nvPr/>
          </p:nvSpPr>
          <p:spPr>
            <a:xfrm>
              <a:off x="5395700" y="4830575"/>
              <a:ext cx="115925" cy="202650"/>
            </a:xfrm>
            <a:custGeom>
              <a:avLst/>
              <a:ahLst/>
              <a:rect l="l" t="t" r="r" b="b"/>
              <a:pathLst>
                <a:path w="4637" h="8106" extrusionOk="0">
                  <a:moveTo>
                    <a:pt x="4203" y="0"/>
                  </a:moveTo>
                  <a:cubicBezTo>
                    <a:pt x="3836" y="34"/>
                    <a:pt x="3469" y="134"/>
                    <a:pt x="3136" y="300"/>
                  </a:cubicBezTo>
                  <a:cubicBezTo>
                    <a:pt x="2635" y="534"/>
                    <a:pt x="2202" y="867"/>
                    <a:pt x="1868" y="1301"/>
                  </a:cubicBezTo>
                  <a:cubicBezTo>
                    <a:pt x="1434" y="1835"/>
                    <a:pt x="1101" y="2435"/>
                    <a:pt x="867" y="3069"/>
                  </a:cubicBezTo>
                  <a:cubicBezTo>
                    <a:pt x="601" y="3669"/>
                    <a:pt x="434" y="4303"/>
                    <a:pt x="267" y="4970"/>
                  </a:cubicBezTo>
                  <a:cubicBezTo>
                    <a:pt x="167" y="5504"/>
                    <a:pt x="100" y="6038"/>
                    <a:pt x="67" y="6605"/>
                  </a:cubicBezTo>
                  <a:cubicBezTo>
                    <a:pt x="33" y="7072"/>
                    <a:pt x="33" y="7439"/>
                    <a:pt x="0" y="7706"/>
                  </a:cubicBezTo>
                  <a:cubicBezTo>
                    <a:pt x="0" y="7839"/>
                    <a:pt x="0" y="7973"/>
                    <a:pt x="33" y="8106"/>
                  </a:cubicBezTo>
                  <a:cubicBezTo>
                    <a:pt x="67" y="7973"/>
                    <a:pt x="100" y="7839"/>
                    <a:pt x="100" y="7706"/>
                  </a:cubicBezTo>
                  <a:cubicBezTo>
                    <a:pt x="134" y="7405"/>
                    <a:pt x="167" y="7039"/>
                    <a:pt x="200" y="6605"/>
                  </a:cubicBezTo>
                  <a:cubicBezTo>
                    <a:pt x="267" y="6071"/>
                    <a:pt x="334" y="5537"/>
                    <a:pt x="434" y="5004"/>
                  </a:cubicBezTo>
                  <a:cubicBezTo>
                    <a:pt x="601" y="4370"/>
                    <a:pt x="767" y="3736"/>
                    <a:pt x="1034" y="3102"/>
                  </a:cubicBezTo>
                  <a:cubicBezTo>
                    <a:pt x="1268" y="2502"/>
                    <a:pt x="1601" y="1935"/>
                    <a:pt x="2002" y="1401"/>
                  </a:cubicBezTo>
                  <a:cubicBezTo>
                    <a:pt x="2302" y="968"/>
                    <a:pt x="2735" y="634"/>
                    <a:pt x="3202" y="400"/>
                  </a:cubicBezTo>
                  <a:cubicBezTo>
                    <a:pt x="3536" y="234"/>
                    <a:pt x="3870" y="134"/>
                    <a:pt x="4236" y="67"/>
                  </a:cubicBezTo>
                  <a:cubicBezTo>
                    <a:pt x="4370" y="67"/>
                    <a:pt x="4503" y="34"/>
                    <a:pt x="46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7" name="Google Shape;1588;g199c61c64ac_6_600"/>
            <p:cNvSpPr/>
            <p:nvPr/>
          </p:nvSpPr>
          <p:spPr>
            <a:xfrm>
              <a:off x="5395700" y="4561200"/>
              <a:ext cx="53375" cy="451200"/>
            </a:xfrm>
            <a:custGeom>
              <a:avLst/>
              <a:ahLst/>
              <a:rect l="l" t="t" r="r" b="b"/>
              <a:pathLst>
                <a:path w="2135" h="18048" extrusionOk="0">
                  <a:moveTo>
                    <a:pt x="2135" y="1"/>
                  </a:moveTo>
                  <a:lnTo>
                    <a:pt x="2135" y="1"/>
                  </a:lnTo>
                  <a:cubicBezTo>
                    <a:pt x="2102" y="68"/>
                    <a:pt x="2102" y="101"/>
                    <a:pt x="2068" y="168"/>
                  </a:cubicBezTo>
                  <a:lnTo>
                    <a:pt x="1935" y="668"/>
                  </a:lnTo>
                  <a:cubicBezTo>
                    <a:pt x="1868" y="901"/>
                    <a:pt x="1801" y="1168"/>
                    <a:pt x="1701" y="1502"/>
                  </a:cubicBezTo>
                  <a:cubicBezTo>
                    <a:pt x="1635" y="1802"/>
                    <a:pt x="1535" y="2169"/>
                    <a:pt x="1434" y="2569"/>
                  </a:cubicBezTo>
                  <a:cubicBezTo>
                    <a:pt x="1001" y="4671"/>
                    <a:pt x="667" y="6806"/>
                    <a:pt x="434" y="8941"/>
                  </a:cubicBezTo>
                  <a:cubicBezTo>
                    <a:pt x="167" y="11442"/>
                    <a:pt x="0" y="13711"/>
                    <a:pt x="0" y="15378"/>
                  </a:cubicBezTo>
                  <a:cubicBezTo>
                    <a:pt x="0" y="16212"/>
                    <a:pt x="0" y="16846"/>
                    <a:pt x="33" y="17313"/>
                  </a:cubicBezTo>
                  <a:cubicBezTo>
                    <a:pt x="33" y="17547"/>
                    <a:pt x="67" y="17713"/>
                    <a:pt x="67" y="17847"/>
                  </a:cubicBezTo>
                  <a:cubicBezTo>
                    <a:pt x="67" y="17914"/>
                    <a:pt x="100" y="17980"/>
                    <a:pt x="100" y="18047"/>
                  </a:cubicBezTo>
                  <a:cubicBezTo>
                    <a:pt x="134" y="17980"/>
                    <a:pt x="134" y="17914"/>
                    <a:pt x="100" y="17847"/>
                  </a:cubicBezTo>
                  <a:lnTo>
                    <a:pt x="100" y="17347"/>
                  </a:lnTo>
                  <a:cubicBezTo>
                    <a:pt x="100" y="16880"/>
                    <a:pt x="100" y="16212"/>
                    <a:pt x="134" y="15378"/>
                  </a:cubicBezTo>
                  <a:cubicBezTo>
                    <a:pt x="167" y="13744"/>
                    <a:pt x="334" y="11476"/>
                    <a:pt x="601" y="8974"/>
                  </a:cubicBezTo>
                  <a:cubicBezTo>
                    <a:pt x="867" y="6472"/>
                    <a:pt x="1234" y="4237"/>
                    <a:pt x="1568" y="2603"/>
                  </a:cubicBezTo>
                  <a:cubicBezTo>
                    <a:pt x="1635" y="2202"/>
                    <a:pt x="1735" y="1835"/>
                    <a:pt x="1801" y="1535"/>
                  </a:cubicBezTo>
                  <a:cubicBezTo>
                    <a:pt x="1868" y="1202"/>
                    <a:pt x="1935" y="935"/>
                    <a:pt x="2002" y="701"/>
                  </a:cubicBezTo>
                  <a:lnTo>
                    <a:pt x="2102" y="168"/>
                  </a:lnTo>
                  <a:cubicBezTo>
                    <a:pt x="2135" y="134"/>
                    <a:pt x="2135" y="68"/>
                    <a:pt x="213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8" name="Google Shape;1589;g199c61c64ac_6_600"/>
            <p:cNvSpPr/>
            <p:nvPr/>
          </p:nvSpPr>
          <p:spPr>
            <a:xfrm>
              <a:off x="5252250" y="4595400"/>
              <a:ext cx="146800" cy="306900"/>
            </a:xfrm>
            <a:custGeom>
              <a:avLst/>
              <a:ahLst/>
              <a:rect l="l" t="t" r="r" b="b"/>
              <a:pathLst>
                <a:path w="5872" h="12276" extrusionOk="0">
                  <a:moveTo>
                    <a:pt x="1" y="0"/>
                  </a:moveTo>
                  <a:lnTo>
                    <a:pt x="1" y="0"/>
                  </a:lnTo>
                  <a:cubicBezTo>
                    <a:pt x="534" y="434"/>
                    <a:pt x="1035" y="868"/>
                    <a:pt x="1502" y="1368"/>
                  </a:cubicBezTo>
                  <a:cubicBezTo>
                    <a:pt x="2603" y="2602"/>
                    <a:pt x="3503" y="4003"/>
                    <a:pt x="4137" y="5538"/>
                  </a:cubicBezTo>
                  <a:cubicBezTo>
                    <a:pt x="4504" y="6372"/>
                    <a:pt x="4804" y="7239"/>
                    <a:pt x="5071" y="8106"/>
                  </a:cubicBezTo>
                  <a:cubicBezTo>
                    <a:pt x="5304" y="8907"/>
                    <a:pt x="5438" y="9641"/>
                    <a:pt x="5571" y="10274"/>
                  </a:cubicBezTo>
                  <a:cubicBezTo>
                    <a:pt x="5705" y="10875"/>
                    <a:pt x="5771" y="11409"/>
                    <a:pt x="5805" y="11742"/>
                  </a:cubicBezTo>
                  <a:cubicBezTo>
                    <a:pt x="5805" y="11942"/>
                    <a:pt x="5838" y="12109"/>
                    <a:pt x="5872" y="12276"/>
                  </a:cubicBezTo>
                  <a:cubicBezTo>
                    <a:pt x="5872" y="12109"/>
                    <a:pt x="5872" y="11909"/>
                    <a:pt x="5872" y="11742"/>
                  </a:cubicBezTo>
                  <a:cubicBezTo>
                    <a:pt x="5838" y="11375"/>
                    <a:pt x="5805" y="10875"/>
                    <a:pt x="5705" y="10241"/>
                  </a:cubicBezTo>
                  <a:cubicBezTo>
                    <a:pt x="5571" y="9507"/>
                    <a:pt x="5405" y="8773"/>
                    <a:pt x="5204" y="8040"/>
                  </a:cubicBezTo>
                  <a:cubicBezTo>
                    <a:pt x="4971" y="7172"/>
                    <a:pt x="4637" y="6305"/>
                    <a:pt x="4270" y="5471"/>
                  </a:cubicBezTo>
                  <a:cubicBezTo>
                    <a:pt x="3637" y="3903"/>
                    <a:pt x="2736" y="2502"/>
                    <a:pt x="1602" y="1301"/>
                  </a:cubicBezTo>
                  <a:cubicBezTo>
                    <a:pt x="1402" y="1068"/>
                    <a:pt x="1202" y="868"/>
                    <a:pt x="968" y="701"/>
                  </a:cubicBezTo>
                  <a:cubicBezTo>
                    <a:pt x="868" y="634"/>
                    <a:pt x="801" y="534"/>
                    <a:pt x="701" y="467"/>
                  </a:cubicBezTo>
                  <a:lnTo>
                    <a:pt x="468" y="301"/>
                  </a:lnTo>
                  <a:cubicBezTo>
                    <a:pt x="301" y="201"/>
                    <a:pt x="134" y="1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69" name="Google Shape;1590;g199c61c64ac_6_600"/>
            <p:cNvSpPr/>
            <p:nvPr/>
          </p:nvSpPr>
          <p:spPr>
            <a:xfrm>
              <a:off x="2059150" y="3917425"/>
              <a:ext cx="537900" cy="1046600"/>
            </a:xfrm>
            <a:custGeom>
              <a:avLst/>
              <a:ahLst/>
              <a:rect l="l" t="t" r="r" b="b"/>
              <a:pathLst>
                <a:path w="21516" h="41864" extrusionOk="0">
                  <a:moveTo>
                    <a:pt x="6205" y="0"/>
                  </a:moveTo>
                  <a:lnTo>
                    <a:pt x="6205" y="0"/>
                  </a:lnTo>
                  <a:cubicBezTo>
                    <a:pt x="6150" y="12"/>
                    <a:pt x="6095" y="26"/>
                    <a:pt x="6041" y="43"/>
                  </a:cubicBezTo>
                  <a:lnTo>
                    <a:pt x="6041" y="43"/>
                  </a:lnTo>
                  <a:cubicBezTo>
                    <a:pt x="6097" y="30"/>
                    <a:pt x="6159" y="23"/>
                    <a:pt x="6205" y="0"/>
                  </a:cubicBezTo>
                  <a:close/>
                  <a:moveTo>
                    <a:pt x="6041" y="43"/>
                  </a:moveTo>
                  <a:lnTo>
                    <a:pt x="6041" y="43"/>
                  </a:lnTo>
                  <a:cubicBezTo>
                    <a:pt x="6017" y="49"/>
                    <a:pt x="5994" y="56"/>
                    <a:pt x="5974" y="65"/>
                  </a:cubicBezTo>
                  <a:lnTo>
                    <a:pt x="5974" y="65"/>
                  </a:lnTo>
                  <a:cubicBezTo>
                    <a:pt x="5996" y="58"/>
                    <a:pt x="6019" y="50"/>
                    <a:pt x="6041" y="43"/>
                  </a:cubicBezTo>
                  <a:close/>
                  <a:moveTo>
                    <a:pt x="5974" y="65"/>
                  </a:moveTo>
                  <a:cubicBezTo>
                    <a:pt x="5971" y="66"/>
                    <a:pt x="5968" y="67"/>
                    <a:pt x="5965" y="68"/>
                  </a:cubicBezTo>
                  <a:lnTo>
                    <a:pt x="5965" y="68"/>
                  </a:lnTo>
                  <a:cubicBezTo>
                    <a:pt x="5967" y="68"/>
                    <a:pt x="5969" y="67"/>
                    <a:pt x="5971" y="67"/>
                  </a:cubicBezTo>
                  <a:cubicBezTo>
                    <a:pt x="5972" y="66"/>
                    <a:pt x="5973" y="66"/>
                    <a:pt x="5974" y="65"/>
                  </a:cubicBezTo>
                  <a:close/>
                  <a:moveTo>
                    <a:pt x="6371" y="33"/>
                  </a:moveTo>
                  <a:cubicBezTo>
                    <a:pt x="6305" y="33"/>
                    <a:pt x="6205" y="33"/>
                    <a:pt x="6138" y="67"/>
                  </a:cubicBezTo>
                  <a:cubicBezTo>
                    <a:pt x="6224" y="50"/>
                    <a:pt x="6310" y="41"/>
                    <a:pt x="6395" y="41"/>
                  </a:cubicBezTo>
                  <a:cubicBezTo>
                    <a:pt x="6639" y="41"/>
                    <a:pt x="6874" y="110"/>
                    <a:pt x="7072" y="234"/>
                  </a:cubicBezTo>
                  <a:cubicBezTo>
                    <a:pt x="7439" y="400"/>
                    <a:pt x="7739" y="667"/>
                    <a:pt x="7973" y="967"/>
                  </a:cubicBezTo>
                  <a:cubicBezTo>
                    <a:pt x="8273" y="1401"/>
                    <a:pt x="8540" y="1868"/>
                    <a:pt x="8706" y="2368"/>
                  </a:cubicBezTo>
                  <a:cubicBezTo>
                    <a:pt x="9140" y="3536"/>
                    <a:pt x="9340" y="5004"/>
                    <a:pt x="9540" y="6772"/>
                  </a:cubicBezTo>
                  <a:cubicBezTo>
                    <a:pt x="9774" y="8506"/>
                    <a:pt x="10007" y="10508"/>
                    <a:pt x="10074" y="12776"/>
                  </a:cubicBezTo>
                  <a:cubicBezTo>
                    <a:pt x="10107" y="12943"/>
                    <a:pt x="10207" y="13143"/>
                    <a:pt x="10341" y="13310"/>
                  </a:cubicBezTo>
                  <a:cubicBezTo>
                    <a:pt x="10474" y="13476"/>
                    <a:pt x="10674" y="13610"/>
                    <a:pt x="10875" y="13643"/>
                  </a:cubicBezTo>
                  <a:cubicBezTo>
                    <a:pt x="11108" y="13610"/>
                    <a:pt x="11308" y="13576"/>
                    <a:pt x="11475" y="13443"/>
                  </a:cubicBezTo>
                  <a:cubicBezTo>
                    <a:pt x="11675" y="13343"/>
                    <a:pt x="11842" y="13209"/>
                    <a:pt x="12009" y="13109"/>
                  </a:cubicBezTo>
                  <a:cubicBezTo>
                    <a:pt x="12342" y="12876"/>
                    <a:pt x="12709" y="12642"/>
                    <a:pt x="13076" y="12442"/>
                  </a:cubicBezTo>
                  <a:cubicBezTo>
                    <a:pt x="13345" y="12296"/>
                    <a:pt x="13649" y="12203"/>
                    <a:pt x="13950" y="12203"/>
                  </a:cubicBezTo>
                  <a:cubicBezTo>
                    <a:pt x="14060" y="12203"/>
                    <a:pt x="14170" y="12215"/>
                    <a:pt x="14277" y="12242"/>
                  </a:cubicBezTo>
                  <a:cubicBezTo>
                    <a:pt x="14677" y="12409"/>
                    <a:pt x="14978" y="12742"/>
                    <a:pt x="15111" y="13143"/>
                  </a:cubicBezTo>
                  <a:cubicBezTo>
                    <a:pt x="15244" y="13576"/>
                    <a:pt x="15278" y="14043"/>
                    <a:pt x="15178" y="14477"/>
                  </a:cubicBezTo>
                  <a:cubicBezTo>
                    <a:pt x="15011" y="15411"/>
                    <a:pt x="14577" y="16245"/>
                    <a:pt x="14177" y="17179"/>
                  </a:cubicBezTo>
                  <a:lnTo>
                    <a:pt x="12976" y="19948"/>
                  </a:lnTo>
                  <a:lnTo>
                    <a:pt x="12376" y="21415"/>
                  </a:lnTo>
                  <a:cubicBezTo>
                    <a:pt x="12242" y="21649"/>
                    <a:pt x="12142" y="21882"/>
                    <a:pt x="12042" y="22149"/>
                  </a:cubicBezTo>
                  <a:cubicBezTo>
                    <a:pt x="11909" y="22383"/>
                    <a:pt x="11875" y="22683"/>
                    <a:pt x="11942" y="22983"/>
                  </a:cubicBezTo>
                  <a:cubicBezTo>
                    <a:pt x="12000" y="23128"/>
                    <a:pt x="12134" y="23223"/>
                    <a:pt x="12300" y="23223"/>
                  </a:cubicBezTo>
                  <a:cubicBezTo>
                    <a:pt x="12325" y="23223"/>
                    <a:pt x="12350" y="23221"/>
                    <a:pt x="12376" y="23217"/>
                  </a:cubicBezTo>
                  <a:cubicBezTo>
                    <a:pt x="12509" y="23217"/>
                    <a:pt x="12643" y="23183"/>
                    <a:pt x="12776" y="23117"/>
                  </a:cubicBezTo>
                  <a:lnTo>
                    <a:pt x="13543" y="22783"/>
                  </a:lnTo>
                  <a:cubicBezTo>
                    <a:pt x="14044" y="22549"/>
                    <a:pt x="14544" y="22349"/>
                    <a:pt x="15078" y="22183"/>
                  </a:cubicBezTo>
                  <a:cubicBezTo>
                    <a:pt x="15611" y="21982"/>
                    <a:pt x="16178" y="21882"/>
                    <a:pt x="16712" y="21882"/>
                  </a:cubicBezTo>
                  <a:cubicBezTo>
                    <a:pt x="16741" y="21881"/>
                    <a:pt x="16769" y="21880"/>
                    <a:pt x="16798" y="21880"/>
                  </a:cubicBezTo>
                  <a:cubicBezTo>
                    <a:pt x="17332" y="21880"/>
                    <a:pt x="17825" y="22174"/>
                    <a:pt x="18046" y="22650"/>
                  </a:cubicBezTo>
                  <a:cubicBezTo>
                    <a:pt x="18247" y="23183"/>
                    <a:pt x="18280" y="23784"/>
                    <a:pt x="18113" y="24317"/>
                  </a:cubicBezTo>
                  <a:cubicBezTo>
                    <a:pt x="17980" y="24885"/>
                    <a:pt x="17813" y="25452"/>
                    <a:pt x="17579" y="25985"/>
                  </a:cubicBezTo>
                  <a:cubicBezTo>
                    <a:pt x="17079" y="27086"/>
                    <a:pt x="16479" y="28154"/>
                    <a:pt x="15811" y="29188"/>
                  </a:cubicBezTo>
                  <a:cubicBezTo>
                    <a:pt x="15645" y="29454"/>
                    <a:pt x="15478" y="29721"/>
                    <a:pt x="15344" y="30022"/>
                  </a:cubicBezTo>
                  <a:cubicBezTo>
                    <a:pt x="15278" y="30188"/>
                    <a:pt x="15278" y="30388"/>
                    <a:pt x="15344" y="30555"/>
                  </a:cubicBezTo>
                  <a:cubicBezTo>
                    <a:pt x="15378" y="30589"/>
                    <a:pt x="15378" y="30622"/>
                    <a:pt x="15411" y="30689"/>
                  </a:cubicBezTo>
                  <a:cubicBezTo>
                    <a:pt x="15445" y="30722"/>
                    <a:pt x="15478" y="30755"/>
                    <a:pt x="15545" y="30789"/>
                  </a:cubicBezTo>
                  <a:cubicBezTo>
                    <a:pt x="15595" y="30805"/>
                    <a:pt x="15645" y="30814"/>
                    <a:pt x="15695" y="30814"/>
                  </a:cubicBezTo>
                  <a:cubicBezTo>
                    <a:pt x="15745" y="30814"/>
                    <a:pt x="15795" y="30805"/>
                    <a:pt x="15845" y="30789"/>
                  </a:cubicBezTo>
                  <a:cubicBezTo>
                    <a:pt x="16445" y="30522"/>
                    <a:pt x="17012" y="30222"/>
                    <a:pt x="17546" y="29888"/>
                  </a:cubicBezTo>
                  <a:cubicBezTo>
                    <a:pt x="18080" y="29555"/>
                    <a:pt x="18647" y="29288"/>
                    <a:pt x="19247" y="29054"/>
                  </a:cubicBezTo>
                  <a:cubicBezTo>
                    <a:pt x="19547" y="28954"/>
                    <a:pt x="19848" y="28887"/>
                    <a:pt x="20148" y="28854"/>
                  </a:cubicBezTo>
                  <a:cubicBezTo>
                    <a:pt x="20179" y="28851"/>
                    <a:pt x="20210" y="28849"/>
                    <a:pt x="20241" y="28849"/>
                  </a:cubicBezTo>
                  <a:cubicBezTo>
                    <a:pt x="20509" y="28849"/>
                    <a:pt x="20769" y="28975"/>
                    <a:pt x="20948" y="29154"/>
                  </a:cubicBezTo>
                  <a:cubicBezTo>
                    <a:pt x="21149" y="29388"/>
                    <a:pt x="21282" y="29688"/>
                    <a:pt x="21249" y="29988"/>
                  </a:cubicBezTo>
                  <a:cubicBezTo>
                    <a:pt x="21282" y="30288"/>
                    <a:pt x="21249" y="30622"/>
                    <a:pt x="21182" y="30922"/>
                  </a:cubicBezTo>
                  <a:cubicBezTo>
                    <a:pt x="21015" y="31556"/>
                    <a:pt x="20782" y="32190"/>
                    <a:pt x="20515" y="32757"/>
                  </a:cubicBezTo>
                  <a:cubicBezTo>
                    <a:pt x="19914" y="33958"/>
                    <a:pt x="19147" y="35092"/>
                    <a:pt x="18280" y="36093"/>
                  </a:cubicBezTo>
                  <a:cubicBezTo>
                    <a:pt x="17413" y="37160"/>
                    <a:pt x="16479" y="38127"/>
                    <a:pt x="15478" y="39061"/>
                  </a:cubicBezTo>
                  <a:cubicBezTo>
                    <a:pt x="14978" y="39528"/>
                    <a:pt x="14444" y="39962"/>
                    <a:pt x="13877" y="40362"/>
                  </a:cubicBezTo>
                  <a:lnTo>
                    <a:pt x="12264" y="41646"/>
                  </a:lnTo>
                  <a:lnTo>
                    <a:pt x="12264" y="41646"/>
                  </a:lnTo>
                  <a:lnTo>
                    <a:pt x="10374" y="40896"/>
                  </a:lnTo>
                  <a:cubicBezTo>
                    <a:pt x="9707" y="40662"/>
                    <a:pt x="9073" y="40396"/>
                    <a:pt x="8440" y="40129"/>
                  </a:cubicBezTo>
                  <a:cubicBezTo>
                    <a:pt x="7205" y="39528"/>
                    <a:pt x="6038" y="38861"/>
                    <a:pt x="4904" y="38094"/>
                  </a:cubicBezTo>
                  <a:cubicBezTo>
                    <a:pt x="3770" y="37360"/>
                    <a:pt x="2735" y="36526"/>
                    <a:pt x="1835" y="35559"/>
                  </a:cubicBezTo>
                  <a:cubicBezTo>
                    <a:pt x="1368" y="35058"/>
                    <a:pt x="968" y="34558"/>
                    <a:pt x="667" y="33991"/>
                  </a:cubicBezTo>
                  <a:cubicBezTo>
                    <a:pt x="501" y="33691"/>
                    <a:pt x="367" y="33391"/>
                    <a:pt x="300" y="33090"/>
                  </a:cubicBezTo>
                  <a:cubicBezTo>
                    <a:pt x="200" y="32790"/>
                    <a:pt x="234" y="32490"/>
                    <a:pt x="334" y="32223"/>
                  </a:cubicBezTo>
                  <a:cubicBezTo>
                    <a:pt x="501" y="31956"/>
                    <a:pt x="734" y="31756"/>
                    <a:pt x="1034" y="31689"/>
                  </a:cubicBezTo>
                  <a:cubicBezTo>
                    <a:pt x="1254" y="31641"/>
                    <a:pt x="1492" y="31610"/>
                    <a:pt x="1721" y="31610"/>
                  </a:cubicBezTo>
                  <a:cubicBezTo>
                    <a:pt x="1805" y="31610"/>
                    <a:pt x="1888" y="31614"/>
                    <a:pt x="1968" y="31623"/>
                  </a:cubicBezTo>
                  <a:cubicBezTo>
                    <a:pt x="2602" y="31656"/>
                    <a:pt x="3236" y="31756"/>
                    <a:pt x="3836" y="31923"/>
                  </a:cubicBezTo>
                  <a:cubicBezTo>
                    <a:pt x="4437" y="32090"/>
                    <a:pt x="5070" y="32223"/>
                    <a:pt x="5738" y="32290"/>
                  </a:cubicBezTo>
                  <a:cubicBezTo>
                    <a:pt x="5764" y="32299"/>
                    <a:pt x="5791" y="32303"/>
                    <a:pt x="5817" y="32303"/>
                  </a:cubicBezTo>
                  <a:cubicBezTo>
                    <a:pt x="5889" y="32303"/>
                    <a:pt x="5956" y="32272"/>
                    <a:pt x="6004" y="32223"/>
                  </a:cubicBezTo>
                  <a:cubicBezTo>
                    <a:pt x="6038" y="32156"/>
                    <a:pt x="6071" y="32123"/>
                    <a:pt x="6105" y="32090"/>
                  </a:cubicBezTo>
                  <a:cubicBezTo>
                    <a:pt x="6105" y="32023"/>
                    <a:pt x="6138" y="31990"/>
                    <a:pt x="6138" y="31956"/>
                  </a:cubicBezTo>
                  <a:cubicBezTo>
                    <a:pt x="6138" y="31756"/>
                    <a:pt x="6105" y="31556"/>
                    <a:pt x="5971" y="31423"/>
                  </a:cubicBezTo>
                  <a:cubicBezTo>
                    <a:pt x="5771" y="31189"/>
                    <a:pt x="5537" y="30956"/>
                    <a:pt x="5271" y="30789"/>
                  </a:cubicBezTo>
                  <a:cubicBezTo>
                    <a:pt x="4370" y="29988"/>
                    <a:pt x="3503" y="29121"/>
                    <a:pt x="2702" y="28220"/>
                  </a:cubicBezTo>
                  <a:cubicBezTo>
                    <a:pt x="2302" y="27753"/>
                    <a:pt x="1968" y="27286"/>
                    <a:pt x="1668" y="26753"/>
                  </a:cubicBezTo>
                  <a:cubicBezTo>
                    <a:pt x="1368" y="26286"/>
                    <a:pt x="1234" y="25718"/>
                    <a:pt x="1268" y="25151"/>
                  </a:cubicBezTo>
                  <a:cubicBezTo>
                    <a:pt x="1368" y="24584"/>
                    <a:pt x="1768" y="24151"/>
                    <a:pt x="2335" y="24051"/>
                  </a:cubicBezTo>
                  <a:cubicBezTo>
                    <a:pt x="2869" y="23884"/>
                    <a:pt x="3436" y="23817"/>
                    <a:pt x="4003" y="23817"/>
                  </a:cubicBezTo>
                  <a:cubicBezTo>
                    <a:pt x="4537" y="23850"/>
                    <a:pt x="5104" y="23884"/>
                    <a:pt x="5671" y="23951"/>
                  </a:cubicBezTo>
                  <a:lnTo>
                    <a:pt x="6505" y="24051"/>
                  </a:lnTo>
                  <a:cubicBezTo>
                    <a:pt x="6572" y="24067"/>
                    <a:pt x="6647" y="24076"/>
                    <a:pt x="6722" y="24076"/>
                  </a:cubicBezTo>
                  <a:cubicBezTo>
                    <a:pt x="6797" y="24076"/>
                    <a:pt x="6872" y="24067"/>
                    <a:pt x="6938" y="24051"/>
                  </a:cubicBezTo>
                  <a:cubicBezTo>
                    <a:pt x="7105" y="24017"/>
                    <a:pt x="7239" y="23884"/>
                    <a:pt x="7239" y="23717"/>
                  </a:cubicBezTo>
                  <a:cubicBezTo>
                    <a:pt x="7272" y="23417"/>
                    <a:pt x="7139" y="23117"/>
                    <a:pt x="6905" y="22916"/>
                  </a:cubicBezTo>
                  <a:lnTo>
                    <a:pt x="6405" y="22316"/>
                  </a:lnTo>
                  <a:lnTo>
                    <a:pt x="5404" y="21115"/>
                  </a:lnTo>
                  <a:lnTo>
                    <a:pt x="3436" y="18780"/>
                  </a:lnTo>
                  <a:cubicBezTo>
                    <a:pt x="2802" y="18013"/>
                    <a:pt x="2135" y="17312"/>
                    <a:pt x="1701" y="16478"/>
                  </a:cubicBezTo>
                  <a:cubicBezTo>
                    <a:pt x="1501" y="16078"/>
                    <a:pt x="1368" y="15645"/>
                    <a:pt x="1401" y="15211"/>
                  </a:cubicBezTo>
                  <a:cubicBezTo>
                    <a:pt x="1401" y="14777"/>
                    <a:pt x="1601" y="14377"/>
                    <a:pt x="1935" y="14077"/>
                  </a:cubicBezTo>
                  <a:cubicBezTo>
                    <a:pt x="2170" y="13948"/>
                    <a:pt x="2433" y="13889"/>
                    <a:pt x="2705" y="13889"/>
                  </a:cubicBezTo>
                  <a:cubicBezTo>
                    <a:pt x="2858" y="13889"/>
                    <a:pt x="3013" y="13907"/>
                    <a:pt x="3169" y="13943"/>
                  </a:cubicBezTo>
                  <a:cubicBezTo>
                    <a:pt x="3569" y="14010"/>
                    <a:pt x="3970" y="14110"/>
                    <a:pt x="4370" y="14244"/>
                  </a:cubicBezTo>
                  <a:cubicBezTo>
                    <a:pt x="4570" y="14310"/>
                    <a:pt x="4770" y="14377"/>
                    <a:pt x="4970" y="14444"/>
                  </a:cubicBezTo>
                  <a:cubicBezTo>
                    <a:pt x="5070" y="14460"/>
                    <a:pt x="5179" y="14469"/>
                    <a:pt x="5287" y="14469"/>
                  </a:cubicBezTo>
                  <a:cubicBezTo>
                    <a:pt x="5396" y="14469"/>
                    <a:pt x="5504" y="14460"/>
                    <a:pt x="5604" y="14444"/>
                  </a:cubicBezTo>
                  <a:cubicBezTo>
                    <a:pt x="5804" y="14344"/>
                    <a:pt x="5971" y="14177"/>
                    <a:pt x="6038" y="13977"/>
                  </a:cubicBezTo>
                  <a:cubicBezTo>
                    <a:pt x="6105" y="13777"/>
                    <a:pt x="6138" y="13576"/>
                    <a:pt x="6138" y="13376"/>
                  </a:cubicBezTo>
                  <a:cubicBezTo>
                    <a:pt x="5638" y="11408"/>
                    <a:pt x="5237" y="9407"/>
                    <a:pt x="4937" y="7405"/>
                  </a:cubicBezTo>
                  <a:cubicBezTo>
                    <a:pt x="4637" y="5938"/>
                    <a:pt x="4470" y="4470"/>
                    <a:pt x="4470" y="2969"/>
                  </a:cubicBezTo>
                  <a:cubicBezTo>
                    <a:pt x="4503" y="2435"/>
                    <a:pt x="4603" y="1901"/>
                    <a:pt x="4770" y="1401"/>
                  </a:cubicBezTo>
                  <a:cubicBezTo>
                    <a:pt x="4904" y="1034"/>
                    <a:pt x="5104" y="701"/>
                    <a:pt x="5371" y="434"/>
                  </a:cubicBezTo>
                  <a:cubicBezTo>
                    <a:pt x="5542" y="263"/>
                    <a:pt x="5749" y="145"/>
                    <a:pt x="5965" y="68"/>
                  </a:cubicBezTo>
                  <a:lnTo>
                    <a:pt x="5965" y="68"/>
                  </a:lnTo>
                  <a:cubicBezTo>
                    <a:pt x="5734" y="135"/>
                    <a:pt x="5536" y="235"/>
                    <a:pt x="5337" y="400"/>
                  </a:cubicBezTo>
                  <a:cubicBezTo>
                    <a:pt x="5070" y="701"/>
                    <a:pt x="4837" y="1034"/>
                    <a:pt x="4737" y="1401"/>
                  </a:cubicBezTo>
                  <a:cubicBezTo>
                    <a:pt x="4537" y="1901"/>
                    <a:pt x="4437" y="2435"/>
                    <a:pt x="4403" y="2969"/>
                  </a:cubicBezTo>
                  <a:cubicBezTo>
                    <a:pt x="4403" y="4470"/>
                    <a:pt x="4537" y="5971"/>
                    <a:pt x="4837" y="7439"/>
                  </a:cubicBezTo>
                  <a:cubicBezTo>
                    <a:pt x="5137" y="9407"/>
                    <a:pt x="5537" y="11408"/>
                    <a:pt x="6038" y="13343"/>
                  </a:cubicBezTo>
                  <a:cubicBezTo>
                    <a:pt x="6038" y="13710"/>
                    <a:pt x="5938" y="14143"/>
                    <a:pt x="5571" y="14277"/>
                  </a:cubicBezTo>
                  <a:cubicBezTo>
                    <a:pt x="5487" y="14294"/>
                    <a:pt x="5396" y="14302"/>
                    <a:pt x="5304" y="14302"/>
                  </a:cubicBezTo>
                  <a:cubicBezTo>
                    <a:pt x="5212" y="14302"/>
                    <a:pt x="5120" y="14294"/>
                    <a:pt x="5037" y="14277"/>
                  </a:cubicBezTo>
                  <a:cubicBezTo>
                    <a:pt x="4837" y="14244"/>
                    <a:pt x="4637" y="14177"/>
                    <a:pt x="4437" y="14110"/>
                  </a:cubicBezTo>
                  <a:cubicBezTo>
                    <a:pt x="4036" y="13977"/>
                    <a:pt x="3603" y="13843"/>
                    <a:pt x="3202" y="13777"/>
                  </a:cubicBezTo>
                  <a:cubicBezTo>
                    <a:pt x="3037" y="13729"/>
                    <a:pt x="2872" y="13707"/>
                    <a:pt x="2709" y="13707"/>
                  </a:cubicBezTo>
                  <a:cubicBezTo>
                    <a:pt x="2413" y="13707"/>
                    <a:pt x="2127" y="13781"/>
                    <a:pt x="1868" y="13910"/>
                  </a:cubicBezTo>
                  <a:cubicBezTo>
                    <a:pt x="1501" y="14210"/>
                    <a:pt x="1268" y="14677"/>
                    <a:pt x="1234" y="15144"/>
                  </a:cubicBezTo>
                  <a:cubicBezTo>
                    <a:pt x="1234" y="15611"/>
                    <a:pt x="1368" y="16112"/>
                    <a:pt x="1568" y="16512"/>
                  </a:cubicBezTo>
                  <a:cubicBezTo>
                    <a:pt x="2002" y="17379"/>
                    <a:pt x="2702" y="18080"/>
                    <a:pt x="3336" y="18847"/>
                  </a:cubicBezTo>
                  <a:lnTo>
                    <a:pt x="5271" y="21182"/>
                  </a:lnTo>
                  <a:lnTo>
                    <a:pt x="6271" y="22383"/>
                  </a:lnTo>
                  <a:cubicBezTo>
                    <a:pt x="6471" y="22583"/>
                    <a:pt x="6638" y="22783"/>
                    <a:pt x="6805" y="22983"/>
                  </a:cubicBezTo>
                  <a:cubicBezTo>
                    <a:pt x="6872" y="23083"/>
                    <a:pt x="6972" y="23183"/>
                    <a:pt x="7005" y="23317"/>
                  </a:cubicBezTo>
                  <a:cubicBezTo>
                    <a:pt x="7072" y="23417"/>
                    <a:pt x="7105" y="23517"/>
                    <a:pt x="7105" y="23650"/>
                  </a:cubicBezTo>
                  <a:cubicBezTo>
                    <a:pt x="7080" y="23800"/>
                    <a:pt x="6905" y="23875"/>
                    <a:pt x="6721" y="23875"/>
                  </a:cubicBezTo>
                  <a:cubicBezTo>
                    <a:pt x="6659" y="23875"/>
                    <a:pt x="6597" y="23867"/>
                    <a:pt x="6538" y="23850"/>
                  </a:cubicBezTo>
                  <a:lnTo>
                    <a:pt x="5704" y="23750"/>
                  </a:lnTo>
                  <a:cubicBezTo>
                    <a:pt x="5137" y="23684"/>
                    <a:pt x="4603" y="23650"/>
                    <a:pt x="4036" y="23617"/>
                  </a:cubicBezTo>
                  <a:cubicBezTo>
                    <a:pt x="3469" y="23617"/>
                    <a:pt x="2869" y="23684"/>
                    <a:pt x="2302" y="23817"/>
                  </a:cubicBezTo>
                  <a:cubicBezTo>
                    <a:pt x="2035" y="23917"/>
                    <a:pt x="1768" y="24084"/>
                    <a:pt x="1535" y="24284"/>
                  </a:cubicBezTo>
                  <a:cubicBezTo>
                    <a:pt x="1301" y="24484"/>
                    <a:pt x="1168" y="24784"/>
                    <a:pt x="1134" y="25118"/>
                  </a:cubicBezTo>
                  <a:cubicBezTo>
                    <a:pt x="1068" y="25718"/>
                    <a:pt x="1234" y="26319"/>
                    <a:pt x="1535" y="26853"/>
                  </a:cubicBezTo>
                  <a:cubicBezTo>
                    <a:pt x="1835" y="27386"/>
                    <a:pt x="2168" y="27887"/>
                    <a:pt x="2569" y="28320"/>
                  </a:cubicBezTo>
                  <a:cubicBezTo>
                    <a:pt x="3369" y="29254"/>
                    <a:pt x="4237" y="30122"/>
                    <a:pt x="5171" y="30922"/>
                  </a:cubicBezTo>
                  <a:cubicBezTo>
                    <a:pt x="5437" y="31122"/>
                    <a:pt x="5638" y="31322"/>
                    <a:pt x="5838" y="31556"/>
                  </a:cubicBezTo>
                  <a:cubicBezTo>
                    <a:pt x="5938" y="31656"/>
                    <a:pt x="5971" y="31756"/>
                    <a:pt x="5938" y="31890"/>
                  </a:cubicBezTo>
                  <a:cubicBezTo>
                    <a:pt x="5938" y="31923"/>
                    <a:pt x="5938" y="31956"/>
                    <a:pt x="5938" y="31990"/>
                  </a:cubicBezTo>
                  <a:cubicBezTo>
                    <a:pt x="5904" y="32023"/>
                    <a:pt x="5904" y="32056"/>
                    <a:pt x="5904" y="32056"/>
                  </a:cubicBezTo>
                  <a:cubicBezTo>
                    <a:pt x="5838" y="32090"/>
                    <a:pt x="5804" y="32090"/>
                    <a:pt x="5738" y="32090"/>
                  </a:cubicBezTo>
                  <a:cubicBezTo>
                    <a:pt x="5137" y="32023"/>
                    <a:pt x="4503" y="31890"/>
                    <a:pt x="3903" y="31723"/>
                  </a:cubicBezTo>
                  <a:cubicBezTo>
                    <a:pt x="3303" y="31556"/>
                    <a:pt x="2635" y="31456"/>
                    <a:pt x="2002" y="31389"/>
                  </a:cubicBezTo>
                  <a:cubicBezTo>
                    <a:pt x="1668" y="31389"/>
                    <a:pt x="1334" y="31423"/>
                    <a:pt x="1001" y="31489"/>
                  </a:cubicBezTo>
                  <a:cubicBezTo>
                    <a:pt x="667" y="31556"/>
                    <a:pt x="367" y="31789"/>
                    <a:pt x="167" y="32123"/>
                  </a:cubicBezTo>
                  <a:cubicBezTo>
                    <a:pt x="34" y="32423"/>
                    <a:pt x="0" y="32790"/>
                    <a:pt x="100" y="33124"/>
                  </a:cubicBezTo>
                  <a:cubicBezTo>
                    <a:pt x="200" y="33457"/>
                    <a:pt x="334" y="33791"/>
                    <a:pt x="501" y="34058"/>
                  </a:cubicBezTo>
                  <a:cubicBezTo>
                    <a:pt x="834" y="34658"/>
                    <a:pt x="1234" y="35192"/>
                    <a:pt x="1701" y="35692"/>
                  </a:cubicBezTo>
                  <a:cubicBezTo>
                    <a:pt x="2602" y="36660"/>
                    <a:pt x="3669" y="37527"/>
                    <a:pt x="4804" y="38261"/>
                  </a:cubicBezTo>
                  <a:cubicBezTo>
                    <a:pt x="5938" y="39028"/>
                    <a:pt x="7139" y="39728"/>
                    <a:pt x="8373" y="40296"/>
                  </a:cubicBezTo>
                  <a:cubicBezTo>
                    <a:pt x="9007" y="40596"/>
                    <a:pt x="9640" y="40863"/>
                    <a:pt x="10308" y="41096"/>
                  </a:cubicBezTo>
                  <a:lnTo>
                    <a:pt x="12242" y="41863"/>
                  </a:lnTo>
                  <a:lnTo>
                    <a:pt x="12309" y="41863"/>
                  </a:lnTo>
                  <a:lnTo>
                    <a:pt x="12376" y="41830"/>
                  </a:lnTo>
                  <a:lnTo>
                    <a:pt x="14044" y="40562"/>
                  </a:lnTo>
                  <a:cubicBezTo>
                    <a:pt x="14577" y="40162"/>
                    <a:pt x="15144" y="39728"/>
                    <a:pt x="15645" y="39261"/>
                  </a:cubicBezTo>
                  <a:cubicBezTo>
                    <a:pt x="16679" y="38361"/>
                    <a:pt x="17613" y="37360"/>
                    <a:pt x="18480" y="36293"/>
                  </a:cubicBezTo>
                  <a:cubicBezTo>
                    <a:pt x="19381" y="35259"/>
                    <a:pt x="20115" y="34124"/>
                    <a:pt x="20715" y="32924"/>
                  </a:cubicBezTo>
                  <a:cubicBezTo>
                    <a:pt x="21015" y="32323"/>
                    <a:pt x="21249" y="31689"/>
                    <a:pt x="21415" y="31056"/>
                  </a:cubicBezTo>
                  <a:cubicBezTo>
                    <a:pt x="21482" y="30722"/>
                    <a:pt x="21516" y="30388"/>
                    <a:pt x="21516" y="30055"/>
                  </a:cubicBezTo>
                  <a:cubicBezTo>
                    <a:pt x="21516" y="29688"/>
                    <a:pt x="21382" y="29354"/>
                    <a:pt x="21149" y="29088"/>
                  </a:cubicBezTo>
                  <a:cubicBezTo>
                    <a:pt x="20909" y="28848"/>
                    <a:pt x="20615" y="28716"/>
                    <a:pt x="20291" y="28716"/>
                  </a:cubicBezTo>
                  <a:cubicBezTo>
                    <a:pt x="20255" y="28716"/>
                    <a:pt x="20218" y="28717"/>
                    <a:pt x="20181" y="28721"/>
                  </a:cubicBezTo>
                  <a:cubicBezTo>
                    <a:pt x="19848" y="28721"/>
                    <a:pt x="19514" y="28787"/>
                    <a:pt x="19214" y="28921"/>
                  </a:cubicBezTo>
                  <a:cubicBezTo>
                    <a:pt x="18613" y="29154"/>
                    <a:pt x="18013" y="29421"/>
                    <a:pt x="17479" y="29755"/>
                  </a:cubicBezTo>
                  <a:cubicBezTo>
                    <a:pt x="16946" y="30088"/>
                    <a:pt x="16379" y="30388"/>
                    <a:pt x="15811" y="30622"/>
                  </a:cubicBezTo>
                  <a:cubicBezTo>
                    <a:pt x="15795" y="30639"/>
                    <a:pt x="15770" y="30647"/>
                    <a:pt x="15745" y="30647"/>
                  </a:cubicBezTo>
                  <a:cubicBezTo>
                    <a:pt x="15720" y="30647"/>
                    <a:pt x="15695" y="30639"/>
                    <a:pt x="15678" y="30622"/>
                  </a:cubicBezTo>
                  <a:cubicBezTo>
                    <a:pt x="15678" y="30629"/>
                    <a:pt x="15675" y="30631"/>
                    <a:pt x="15671" y="30631"/>
                  </a:cubicBezTo>
                  <a:cubicBezTo>
                    <a:pt x="15654" y="30631"/>
                    <a:pt x="15611" y="30589"/>
                    <a:pt x="15611" y="30589"/>
                  </a:cubicBezTo>
                  <a:cubicBezTo>
                    <a:pt x="15578" y="30555"/>
                    <a:pt x="15578" y="30522"/>
                    <a:pt x="15578" y="30489"/>
                  </a:cubicBezTo>
                  <a:cubicBezTo>
                    <a:pt x="15511" y="30388"/>
                    <a:pt x="15511" y="30255"/>
                    <a:pt x="15578" y="30122"/>
                  </a:cubicBezTo>
                  <a:cubicBezTo>
                    <a:pt x="15678" y="29855"/>
                    <a:pt x="15845" y="29588"/>
                    <a:pt x="16012" y="29354"/>
                  </a:cubicBezTo>
                  <a:cubicBezTo>
                    <a:pt x="16679" y="28320"/>
                    <a:pt x="17279" y="27220"/>
                    <a:pt x="17780" y="26119"/>
                  </a:cubicBezTo>
                  <a:cubicBezTo>
                    <a:pt x="18013" y="25552"/>
                    <a:pt x="18213" y="24985"/>
                    <a:pt x="18347" y="24384"/>
                  </a:cubicBezTo>
                  <a:cubicBezTo>
                    <a:pt x="18513" y="23817"/>
                    <a:pt x="18480" y="23183"/>
                    <a:pt x="18247" y="22616"/>
                  </a:cubicBezTo>
                  <a:cubicBezTo>
                    <a:pt x="18113" y="22316"/>
                    <a:pt x="17913" y="22082"/>
                    <a:pt x="17613" y="21949"/>
                  </a:cubicBezTo>
                  <a:cubicBezTo>
                    <a:pt x="17346" y="21816"/>
                    <a:pt x="17046" y="21749"/>
                    <a:pt x="16745" y="21749"/>
                  </a:cubicBezTo>
                  <a:cubicBezTo>
                    <a:pt x="16178" y="21749"/>
                    <a:pt x="15611" y="21849"/>
                    <a:pt x="15044" y="22016"/>
                  </a:cubicBezTo>
                  <a:cubicBezTo>
                    <a:pt x="14511" y="22216"/>
                    <a:pt x="14010" y="22416"/>
                    <a:pt x="13476" y="22650"/>
                  </a:cubicBezTo>
                  <a:lnTo>
                    <a:pt x="12743" y="22983"/>
                  </a:lnTo>
                  <a:cubicBezTo>
                    <a:pt x="12626" y="23033"/>
                    <a:pt x="12492" y="23075"/>
                    <a:pt x="12380" y="23075"/>
                  </a:cubicBezTo>
                  <a:cubicBezTo>
                    <a:pt x="12267" y="23075"/>
                    <a:pt x="12176" y="23033"/>
                    <a:pt x="12142" y="22916"/>
                  </a:cubicBezTo>
                  <a:cubicBezTo>
                    <a:pt x="12075" y="22816"/>
                    <a:pt x="12075" y="22683"/>
                    <a:pt x="12109" y="22583"/>
                  </a:cubicBezTo>
                  <a:cubicBezTo>
                    <a:pt x="12142" y="22449"/>
                    <a:pt x="12176" y="22349"/>
                    <a:pt x="12242" y="22216"/>
                  </a:cubicBezTo>
                  <a:cubicBezTo>
                    <a:pt x="12342" y="21982"/>
                    <a:pt x="12442" y="21749"/>
                    <a:pt x="12542" y="21482"/>
                  </a:cubicBezTo>
                  <a:lnTo>
                    <a:pt x="13176" y="20048"/>
                  </a:lnTo>
                  <a:cubicBezTo>
                    <a:pt x="13577" y="19080"/>
                    <a:pt x="14010" y="18146"/>
                    <a:pt x="14377" y="17246"/>
                  </a:cubicBezTo>
                  <a:cubicBezTo>
                    <a:pt x="14744" y="16345"/>
                    <a:pt x="15211" y="15478"/>
                    <a:pt x="15378" y="14510"/>
                  </a:cubicBezTo>
                  <a:cubicBezTo>
                    <a:pt x="15445" y="14043"/>
                    <a:pt x="15445" y="13576"/>
                    <a:pt x="15278" y="13109"/>
                  </a:cubicBezTo>
                  <a:cubicBezTo>
                    <a:pt x="15111" y="12642"/>
                    <a:pt x="14777" y="12309"/>
                    <a:pt x="14344" y="12109"/>
                  </a:cubicBezTo>
                  <a:cubicBezTo>
                    <a:pt x="14222" y="12083"/>
                    <a:pt x="14100" y="12070"/>
                    <a:pt x="13979" y="12070"/>
                  </a:cubicBezTo>
                  <a:cubicBezTo>
                    <a:pt x="13637" y="12070"/>
                    <a:pt x="13305" y="12170"/>
                    <a:pt x="13009" y="12342"/>
                  </a:cubicBezTo>
                  <a:cubicBezTo>
                    <a:pt x="12643" y="12542"/>
                    <a:pt x="12276" y="12742"/>
                    <a:pt x="11942" y="13009"/>
                  </a:cubicBezTo>
                  <a:cubicBezTo>
                    <a:pt x="11775" y="13109"/>
                    <a:pt x="11575" y="13243"/>
                    <a:pt x="11408" y="13343"/>
                  </a:cubicBezTo>
                  <a:cubicBezTo>
                    <a:pt x="11242" y="13443"/>
                    <a:pt x="11075" y="13510"/>
                    <a:pt x="10875" y="13510"/>
                  </a:cubicBezTo>
                  <a:cubicBezTo>
                    <a:pt x="10508" y="13476"/>
                    <a:pt x="10274" y="13076"/>
                    <a:pt x="10174" y="12742"/>
                  </a:cubicBezTo>
                  <a:cubicBezTo>
                    <a:pt x="10107" y="10741"/>
                    <a:pt x="9941" y="8740"/>
                    <a:pt x="9640" y="6738"/>
                  </a:cubicBezTo>
                  <a:cubicBezTo>
                    <a:pt x="9407" y="5004"/>
                    <a:pt x="9207" y="3503"/>
                    <a:pt x="8740" y="2335"/>
                  </a:cubicBezTo>
                  <a:cubicBezTo>
                    <a:pt x="8573" y="1835"/>
                    <a:pt x="8306" y="1368"/>
                    <a:pt x="7973" y="934"/>
                  </a:cubicBezTo>
                  <a:cubicBezTo>
                    <a:pt x="7739" y="600"/>
                    <a:pt x="7439" y="367"/>
                    <a:pt x="7072" y="167"/>
                  </a:cubicBezTo>
                  <a:cubicBezTo>
                    <a:pt x="6872" y="67"/>
                    <a:pt x="6605" y="33"/>
                    <a:pt x="637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0" name="Google Shape;1591;g199c61c64ac_6_600"/>
            <p:cNvSpPr/>
            <p:nvPr/>
          </p:nvSpPr>
          <p:spPr>
            <a:xfrm>
              <a:off x="2230100" y="4038325"/>
              <a:ext cx="146800" cy="997425"/>
            </a:xfrm>
            <a:custGeom>
              <a:avLst/>
              <a:ahLst/>
              <a:rect l="l" t="t" r="r" b="b"/>
              <a:pathLst>
                <a:path w="5872" h="39897" extrusionOk="0">
                  <a:moveTo>
                    <a:pt x="0" y="1"/>
                  </a:moveTo>
                  <a:lnTo>
                    <a:pt x="0" y="34"/>
                  </a:lnTo>
                  <a:lnTo>
                    <a:pt x="34" y="334"/>
                  </a:lnTo>
                  <a:cubicBezTo>
                    <a:pt x="34" y="201"/>
                    <a:pt x="0" y="101"/>
                    <a:pt x="0" y="1"/>
                  </a:cubicBezTo>
                  <a:close/>
                  <a:moveTo>
                    <a:pt x="34" y="334"/>
                  </a:moveTo>
                  <a:lnTo>
                    <a:pt x="34" y="334"/>
                  </a:lnTo>
                  <a:cubicBezTo>
                    <a:pt x="67" y="635"/>
                    <a:pt x="134" y="1068"/>
                    <a:pt x="201" y="1602"/>
                  </a:cubicBezTo>
                  <a:cubicBezTo>
                    <a:pt x="367" y="2669"/>
                    <a:pt x="601" y="4237"/>
                    <a:pt x="901" y="6139"/>
                  </a:cubicBezTo>
                  <a:cubicBezTo>
                    <a:pt x="1468" y="10008"/>
                    <a:pt x="2202" y="15312"/>
                    <a:pt x="3036" y="21183"/>
                  </a:cubicBezTo>
                  <a:cubicBezTo>
                    <a:pt x="3870" y="27087"/>
                    <a:pt x="5204" y="36027"/>
                    <a:pt x="5805" y="39896"/>
                  </a:cubicBezTo>
                  <a:lnTo>
                    <a:pt x="5871" y="39863"/>
                  </a:lnTo>
                  <a:cubicBezTo>
                    <a:pt x="5304" y="36027"/>
                    <a:pt x="3970" y="27054"/>
                    <a:pt x="3136" y="21183"/>
                  </a:cubicBezTo>
                  <a:cubicBezTo>
                    <a:pt x="2302" y="15312"/>
                    <a:pt x="1535" y="9975"/>
                    <a:pt x="968" y="6139"/>
                  </a:cubicBezTo>
                  <a:cubicBezTo>
                    <a:pt x="668" y="4204"/>
                    <a:pt x="434" y="2669"/>
                    <a:pt x="234" y="1569"/>
                  </a:cubicBezTo>
                  <a:cubicBezTo>
                    <a:pt x="167" y="1035"/>
                    <a:pt x="100" y="635"/>
                    <a:pt x="34" y="3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1" name="Google Shape;1592;g199c61c64ac_6_600"/>
            <p:cNvSpPr/>
            <p:nvPr/>
          </p:nvSpPr>
          <p:spPr>
            <a:xfrm>
              <a:off x="2163375" y="4309350"/>
              <a:ext cx="121775" cy="105100"/>
            </a:xfrm>
            <a:custGeom>
              <a:avLst/>
              <a:ahLst/>
              <a:rect l="l" t="t" r="r" b="b"/>
              <a:pathLst>
                <a:path w="4871" h="4204" extrusionOk="0">
                  <a:moveTo>
                    <a:pt x="1" y="1"/>
                  </a:moveTo>
                  <a:cubicBezTo>
                    <a:pt x="34" y="68"/>
                    <a:pt x="101" y="134"/>
                    <a:pt x="168" y="201"/>
                  </a:cubicBezTo>
                  <a:lnTo>
                    <a:pt x="701" y="635"/>
                  </a:lnTo>
                  <a:lnTo>
                    <a:pt x="2403" y="2136"/>
                  </a:lnTo>
                  <a:cubicBezTo>
                    <a:pt x="3070" y="2736"/>
                    <a:pt x="3670" y="3270"/>
                    <a:pt x="4104" y="3670"/>
                  </a:cubicBezTo>
                  <a:cubicBezTo>
                    <a:pt x="4337" y="3837"/>
                    <a:pt x="4537" y="3970"/>
                    <a:pt x="4671" y="4070"/>
                  </a:cubicBezTo>
                  <a:cubicBezTo>
                    <a:pt x="4738" y="4137"/>
                    <a:pt x="4804" y="4171"/>
                    <a:pt x="4871" y="4204"/>
                  </a:cubicBezTo>
                  <a:cubicBezTo>
                    <a:pt x="4804" y="4137"/>
                    <a:pt x="4771" y="4070"/>
                    <a:pt x="4704" y="4037"/>
                  </a:cubicBezTo>
                  <a:lnTo>
                    <a:pt x="4170" y="3570"/>
                  </a:lnTo>
                  <a:lnTo>
                    <a:pt x="2469" y="2036"/>
                  </a:lnTo>
                  <a:cubicBezTo>
                    <a:pt x="1802" y="1435"/>
                    <a:pt x="1202" y="935"/>
                    <a:pt x="768" y="568"/>
                  </a:cubicBezTo>
                  <a:cubicBezTo>
                    <a:pt x="535" y="368"/>
                    <a:pt x="334" y="234"/>
                    <a:pt x="201" y="134"/>
                  </a:cubicBezTo>
                  <a:cubicBezTo>
                    <a:pt x="134" y="68"/>
                    <a:pt x="68" y="34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2" name="Google Shape;1593;g199c61c64ac_6_600"/>
            <p:cNvSpPr/>
            <p:nvPr/>
          </p:nvSpPr>
          <p:spPr>
            <a:xfrm>
              <a:off x="2291800" y="4267650"/>
              <a:ext cx="119275" cy="144300"/>
            </a:xfrm>
            <a:custGeom>
              <a:avLst/>
              <a:ahLst/>
              <a:rect l="l" t="t" r="r" b="b"/>
              <a:pathLst>
                <a:path w="4771" h="5772" extrusionOk="0">
                  <a:moveTo>
                    <a:pt x="4736" y="0"/>
                  </a:moveTo>
                  <a:cubicBezTo>
                    <a:pt x="4677" y="0"/>
                    <a:pt x="3620" y="1288"/>
                    <a:pt x="2336" y="2836"/>
                  </a:cubicBezTo>
                  <a:cubicBezTo>
                    <a:pt x="1035" y="4438"/>
                    <a:pt x="1" y="5738"/>
                    <a:pt x="34" y="5772"/>
                  </a:cubicBezTo>
                  <a:cubicBezTo>
                    <a:pt x="68" y="5772"/>
                    <a:pt x="1135" y="4504"/>
                    <a:pt x="2436" y="2903"/>
                  </a:cubicBezTo>
                  <a:cubicBezTo>
                    <a:pt x="3737" y="1335"/>
                    <a:pt x="4771" y="1"/>
                    <a:pt x="4738" y="1"/>
                  </a:cubicBezTo>
                  <a:cubicBezTo>
                    <a:pt x="4737" y="1"/>
                    <a:pt x="4737" y="0"/>
                    <a:pt x="473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3" name="Google Shape;1594;g199c61c64ac_6_600"/>
            <p:cNvSpPr/>
            <p:nvPr/>
          </p:nvSpPr>
          <p:spPr>
            <a:xfrm>
              <a:off x="2314325" y="4539525"/>
              <a:ext cx="130950" cy="99250"/>
            </a:xfrm>
            <a:custGeom>
              <a:avLst/>
              <a:ahLst/>
              <a:rect l="l" t="t" r="r" b="b"/>
              <a:pathLst>
                <a:path w="5238" h="3970" extrusionOk="0">
                  <a:moveTo>
                    <a:pt x="5238" y="1"/>
                  </a:moveTo>
                  <a:lnTo>
                    <a:pt x="5238" y="1"/>
                  </a:lnTo>
                  <a:cubicBezTo>
                    <a:pt x="5171" y="34"/>
                    <a:pt x="5104" y="101"/>
                    <a:pt x="5037" y="134"/>
                  </a:cubicBezTo>
                  <a:lnTo>
                    <a:pt x="4504" y="601"/>
                  </a:lnTo>
                  <a:cubicBezTo>
                    <a:pt x="4037" y="968"/>
                    <a:pt x="3403" y="1468"/>
                    <a:pt x="2669" y="2035"/>
                  </a:cubicBezTo>
                  <a:cubicBezTo>
                    <a:pt x="1935" y="2569"/>
                    <a:pt x="1268" y="3069"/>
                    <a:pt x="768" y="3403"/>
                  </a:cubicBezTo>
                  <a:lnTo>
                    <a:pt x="201" y="3803"/>
                  </a:lnTo>
                  <a:cubicBezTo>
                    <a:pt x="134" y="3870"/>
                    <a:pt x="67" y="3903"/>
                    <a:pt x="0" y="3970"/>
                  </a:cubicBezTo>
                  <a:cubicBezTo>
                    <a:pt x="67" y="3937"/>
                    <a:pt x="167" y="3903"/>
                    <a:pt x="234" y="3837"/>
                  </a:cubicBezTo>
                  <a:cubicBezTo>
                    <a:pt x="367" y="3737"/>
                    <a:pt x="568" y="3636"/>
                    <a:pt x="834" y="3470"/>
                  </a:cubicBezTo>
                  <a:cubicBezTo>
                    <a:pt x="1335" y="3136"/>
                    <a:pt x="2002" y="2669"/>
                    <a:pt x="2736" y="2135"/>
                  </a:cubicBezTo>
                  <a:cubicBezTo>
                    <a:pt x="3470" y="1568"/>
                    <a:pt x="4103" y="1068"/>
                    <a:pt x="4537" y="668"/>
                  </a:cubicBezTo>
                  <a:cubicBezTo>
                    <a:pt x="4771" y="468"/>
                    <a:pt x="4937" y="301"/>
                    <a:pt x="5071" y="167"/>
                  </a:cubicBezTo>
                  <a:cubicBezTo>
                    <a:pt x="5204" y="67"/>
                    <a:pt x="5238" y="1"/>
                    <a:pt x="523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4" name="Google Shape;1595;g199c61c64ac_6_600"/>
            <p:cNvSpPr/>
            <p:nvPr/>
          </p:nvSpPr>
          <p:spPr>
            <a:xfrm>
              <a:off x="2176725" y="4572050"/>
              <a:ext cx="137625" cy="65075"/>
            </a:xfrm>
            <a:custGeom>
              <a:avLst/>
              <a:ahLst/>
              <a:rect l="l" t="t" r="r" b="b"/>
              <a:pathLst>
                <a:path w="5505" h="2603" extrusionOk="0">
                  <a:moveTo>
                    <a:pt x="1" y="0"/>
                  </a:moveTo>
                  <a:cubicBezTo>
                    <a:pt x="67" y="34"/>
                    <a:pt x="134" y="67"/>
                    <a:pt x="201" y="101"/>
                  </a:cubicBezTo>
                  <a:cubicBezTo>
                    <a:pt x="334" y="201"/>
                    <a:pt x="534" y="301"/>
                    <a:pt x="801" y="401"/>
                  </a:cubicBezTo>
                  <a:cubicBezTo>
                    <a:pt x="1268" y="668"/>
                    <a:pt x="1969" y="1001"/>
                    <a:pt x="2736" y="1335"/>
                  </a:cubicBezTo>
                  <a:cubicBezTo>
                    <a:pt x="3503" y="1702"/>
                    <a:pt x="4170" y="2035"/>
                    <a:pt x="4671" y="2235"/>
                  </a:cubicBezTo>
                  <a:lnTo>
                    <a:pt x="5271" y="2502"/>
                  </a:lnTo>
                  <a:cubicBezTo>
                    <a:pt x="5338" y="2536"/>
                    <a:pt x="5438" y="2569"/>
                    <a:pt x="5504" y="2602"/>
                  </a:cubicBezTo>
                  <a:cubicBezTo>
                    <a:pt x="5438" y="2536"/>
                    <a:pt x="5371" y="2502"/>
                    <a:pt x="5304" y="2469"/>
                  </a:cubicBezTo>
                  <a:cubicBezTo>
                    <a:pt x="5171" y="2402"/>
                    <a:pt x="4971" y="2302"/>
                    <a:pt x="4704" y="2169"/>
                  </a:cubicBezTo>
                  <a:cubicBezTo>
                    <a:pt x="4237" y="1935"/>
                    <a:pt x="3536" y="1602"/>
                    <a:pt x="2769" y="1235"/>
                  </a:cubicBezTo>
                  <a:cubicBezTo>
                    <a:pt x="2035" y="868"/>
                    <a:pt x="1335" y="568"/>
                    <a:pt x="834" y="334"/>
                  </a:cubicBezTo>
                  <a:lnTo>
                    <a:pt x="234" y="67"/>
                  </a:lnTo>
                  <a:cubicBezTo>
                    <a:pt x="167" y="34"/>
                    <a:pt x="67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5" name="Google Shape;1596;g199c61c64ac_6_600"/>
            <p:cNvSpPr/>
            <p:nvPr/>
          </p:nvSpPr>
          <p:spPr>
            <a:xfrm>
              <a:off x="2170050" y="4774700"/>
              <a:ext cx="176825" cy="81750"/>
            </a:xfrm>
            <a:custGeom>
              <a:avLst/>
              <a:ahLst/>
              <a:rect l="l" t="t" r="r" b="b"/>
              <a:pathLst>
                <a:path w="7073" h="3270" extrusionOk="0">
                  <a:moveTo>
                    <a:pt x="1" y="0"/>
                  </a:moveTo>
                  <a:lnTo>
                    <a:pt x="1" y="0"/>
                  </a:lnTo>
                  <a:cubicBezTo>
                    <a:pt x="101" y="67"/>
                    <a:pt x="167" y="100"/>
                    <a:pt x="268" y="167"/>
                  </a:cubicBezTo>
                  <a:lnTo>
                    <a:pt x="1035" y="534"/>
                  </a:lnTo>
                  <a:cubicBezTo>
                    <a:pt x="1669" y="834"/>
                    <a:pt x="2569" y="1234"/>
                    <a:pt x="3537" y="1701"/>
                  </a:cubicBezTo>
                  <a:cubicBezTo>
                    <a:pt x="4504" y="2135"/>
                    <a:pt x="5371" y="2535"/>
                    <a:pt x="6038" y="2836"/>
                  </a:cubicBezTo>
                  <a:lnTo>
                    <a:pt x="6806" y="3169"/>
                  </a:lnTo>
                  <a:cubicBezTo>
                    <a:pt x="6872" y="3203"/>
                    <a:pt x="6972" y="3236"/>
                    <a:pt x="7072" y="3269"/>
                  </a:cubicBezTo>
                  <a:cubicBezTo>
                    <a:pt x="7006" y="3203"/>
                    <a:pt x="6906" y="3169"/>
                    <a:pt x="6806" y="3102"/>
                  </a:cubicBezTo>
                  <a:lnTo>
                    <a:pt x="6072" y="2736"/>
                  </a:lnTo>
                  <a:cubicBezTo>
                    <a:pt x="5438" y="2435"/>
                    <a:pt x="4537" y="2035"/>
                    <a:pt x="3570" y="1568"/>
                  </a:cubicBezTo>
                  <a:cubicBezTo>
                    <a:pt x="2603" y="1134"/>
                    <a:pt x="1702" y="734"/>
                    <a:pt x="1068" y="434"/>
                  </a:cubicBezTo>
                  <a:lnTo>
                    <a:pt x="301" y="100"/>
                  </a:lnTo>
                  <a:cubicBezTo>
                    <a:pt x="201" y="67"/>
                    <a:pt x="101" y="3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6" name="Google Shape;1597;g199c61c64ac_6_600"/>
            <p:cNvSpPr/>
            <p:nvPr/>
          </p:nvSpPr>
          <p:spPr>
            <a:xfrm>
              <a:off x="2343500" y="4723000"/>
              <a:ext cx="163475" cy="130100"/>
            </a:xfrm>
            <a:custGeom>
              <a:avLst/>
              <a:ahLst/>
              <a:rect l="l" t="t" r="r" b="b"/>
              <a:pathLst>
                <a:path w="6539" h="5204" extrusionOk="0">
                  <a:moveTo>
                    <a:pt x="6539" y="0"/>
                  </a:moveTo>
                  <a:lnTo>
                    <a:pt x="6539" y="0"/>
                  </a:lnTo>
                  <a:cubicBezTo>
                    <a:pt x="6439" y="67"/>
                    <a:pt x="6372" y="134"/>
                    <a:pt x="6305" y="200"/>
                  </a:cubicBezTo>
                  <a:lnTo>
                    <a:pt x="5605" y="767"/>
                  </a:lnTo>
                  <a:cubicBezTo>
                    <a:pt x="5038" y="1268"/>
                    <a:pt x="4237" y="1935"/>
                    <a:pt x="3337" y="2669"/>
                  </a:cubicBezTo>
                  <a:cubicBezTo>
                    <a:pt x="2436" y="3369"/>
                    <a:pt x="1602" y="4003"/>
                    <a:pt x="1002" y="4470"/>
                  </a:cubicBezTo>
                  <a:lnTo>
                    <a:pt x="268" y="5004"/>
                  </a:lnTo>
                  <a:cubicBezTo>
                    <a:pt x="168" y="5070"/>
                    <a:pt x="101" y="5137"/>
                    <a:pt x="1" y="5204"/>
                  </a:cubicBezTo>
                  <a:cubicBezTo>
                    <a:pt x="101" y="5170"/>
                    <a:pt x="201" y="5104"/>
                    <a:pt x="301" y="5037"/>
                  </a:cubicBezTo>
                  <a:cubicBezTo>
                    <a:pt x="468" y="4937"/>
                    <a:pt x="735" y="4737"/>
                    <a:pt x="1035" y="4537"/>
                  </a:cubicBezTo>
                  <a:cubicBezTo>
                    <a:pt x="1669" y="4103"/>
                    <a:pt x="2503" y="3469"/>
                    <a:pt x="3403" y="2769"/>
                  </a:cubicBezTo>
                  <a:cubicBezTo>
                    <a:pt x="4304" y="2035"/>
                    <a:pt x="5105" y="1368"/>
                    <a:pt x="5672" y="834"/>
                  </a:cubicBezTo>
                  <a:cubicBezTo>
                    <a:pt x="5939" y="601"/>
                    <a:pt x="6172" y="400"/>
                    <a:pt x="6305" y="234"/>
                  </a:cubicBezTo>
                  <a:cubicBezTo>
                    <a:pt x="6406" y="167"/>
                    <a:pt x="6472" y="100"/>
                    <a:pt x="653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7" name="Google Shape;1598;g199c61c64ac_6_600"/>
            <p:cNvSpPr/>
            <p:nvPr/>
          </p:nvSpPr>
          <p:spPr>
            <a:xfrm>
              <a:off x="2808000" y="3352000"/>
              <a:ext cx="1977275" cy="1677900"/>
            </a:xfrm>
            <a:custGeom>
              <a:avLst/>
              <a:ahLst/>
              <a:rect l="l" t="t" r="r" b="b"/>
              <a:pathLst>
                <a:path w="79091" h="67116" extrusionOk="0">
                  <a:moveTo>
                    <a:pt x="38862" y="1"/>
                  </a:moveTo>
                  <a:cubicBezTo>
                    <a:pt x="38862" y="1"/>
                    <a:pt x="38729" y="21716"/>
                    <a:pt x="34692" y="40096"/>
                  </a:cubicBezTo>
                  <a:cubicBezTo>
                    <a:pt x="34259" y="41931"/>
                    <a:pt x="32958" y="43465"/>
                    <a:pt x="31223" y="44166"/>
                  </a:cubicBezTo>
                  <a:cubicBezTo>
                    <a:pt x="27254" y="45834"/>
                    <a:pt x="23985" y="48769"/>
                    <a:pt x="21917" y="52538"/>
                  </a:cubicBezTo>
                  <a:cubicBezTo>
                    <a:pt x="20863" y="54412"/>
                    <a:pt x="18884" y="55541"/>
                    <a:pt x="16791" y="55541"/>
                  </a:cubicBezTo>
                  <a:cubicBezTo>
                    <a:pt x="16500" y="55541"/>
                    <a:pt x="16206" y="55519"/>
                    <a:pt x="15912" y="55474"/>
                  </a:cubicBezTo>
                  <a:cubicBezTo>
                    <a:pt x="15257" y="55384"/>
                    <a:pt x="14606" y="55341"/>
                    <a:pt x="13963" y="55341"/>
                  </a:cubicBezTo>
                  <a:cubicBezTo>
                    <a:pt x="7166" y="55341"/>
                    <a:pt x="1189" y="60196"/>
                    <a:pt x="1" y="67082"/>
                  </a:cubicBezTo>
                  <a:lnTo>
                    <a:pt x="79091" y="67116"/>
                  </a:lnTo>
                  <a:cubicBezTo>
                    <a:pt x="78090" y="62012"/>
                    <a:pt x="74721" y="57709"/>
                    <a:pt x="70018" y="55507"/>
                  </a:cubicBezTo>
                  <a:cubicBezTo>
                    <a:pt x="68283" y="54707"/>
                    <a:pt x="66382" y="54206"/>
                    <a:pt x="64480" y="54106"/>
                  </a:cubicBezTo>
                  <a:cubicBezTo>
                    <a:pt x="59076" y="53706"/>
                    <a:pt x="54006" y="51271"/>
                    <a:pt x="49970" y="47635"/>
                  </a:cubicBezTo>
                  <a:cubicBezTo>
                    <a:pt x="49770" y="47468"/>
                    <a:pt x="49636" y="47335"/>
                    <a:pt x="49470" y="47201"/>
                  </a:cubicBezTo>
                  <a:cubicBezTo>
                    <a:pt x="46868" y="45033"/>
                    <a:pt x="44166" y="41631"/>
                    <a:pt x="43632" y="38295"/>
                  </a:cubicBezTo>
                  <a:cubicBezTo>
                    <a:pt x="41531" y="25953"/>
                    <a:pt x="39996" y="8941"/>
                    <a:pt x="40096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8" name="Google Shape;1599;g199c61c64ac_6_600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79" name="Google Shape;1600;g199c61c64ac_6_600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0" name="Google Shape;1601;g199c61c64ac_6_600"/>
            <p:cNvSpPr/>
            <p:nvPr/>
          </p:nvSpPr>
          <p:spPr>
            <a:xfrm>
              <a:off x="3026500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8"/>
                    <a:pt x="0" y="134"/>
                  </a:cubicBezTo>
                  <a:cubicBezTo>
                    <a:pt x="0" y="168"/>
                    <a:pt x="3736" y="234"/>
                    <a:pt x="8340" y="234"/>
                  </a:cubicBezTo>
                  <a:cubicBezTo>
                    <a:pt x="12943" y="234"/>
                    <a:pt x="16679" y="168"/>
                    <a:pt x="16679" y="134"/>
                  </a:cubicBezTo>
                  <a:cubicBezTo>
                    <a:pt x="16679" y="68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1" name="Google Shape;1602;g199c61c64ac_6_600"/>
            <p:cNvSpPr/>
            <p:nvPr/>
          </p:nvSpPr>
          <p:spPr>
            <a:xfrm>
              <a:off x="3026500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36" y="0"/>
                    <a:pt x="0" y="34"/>
                    <a:pt x="0" y="100"/>
                  </a:cubicBezTo>
                  <a:cubicBezTo>
                    <a:pt x="0" y="167"/>
                    <a:pt x="3736" y="200"/>
                    <a:pt x="8340" y="200"/>
                  </a:cubicBezTo>
                  <a:cubicBezTo>
                    <a:pt x="12943" y="200"/>
                    <a:pt x="16679" y="167"/>
                    <a:pt x="16679" y="100"/>
                  </a:cubicBezTo>
                  <a:cubicBezTo>
                    <a:pt x="16679" y="34"/>
                    <a:pt x="12910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2" name="Google Shape;1603;g199c61c64ac_6_600"/>
            <p:cNvSpPr/>
            <p:nvPr/>
          </p:nvSpPr>
          <p:spPr>
            <a:xfrm>
              <a:off x="3324200" y="1714175"/>
              <a:ext cx="5875" cy="361950"/>
            </a:xfrm>
            <a:custGeom>
              <a:avLst/>
              <a:ahLst/>
              <a:rect l="l" t="t" r="r" b="b"/>
              <a:pathLst>
                <a:path w="235" h="14478" extrusionOk="0">
                  <a:moveTo>
                    <a:pt x="134" y="0"/>
                  </a:moveTo>
                  <a:cubicBezTo>
                    <a:pt x="68" y="0"/>
                    <a:pt x="1" y="3236"/>
                    <a:pt x="1" y="7239"/>
                  </a:cubicBezTo>
                  <a:cubicBezTo>
                    <a:pt x="1" y="11242"/>
                    <a:pt x="68" y="14477"/>
                    <a:pt x="134" y="14477"/>
                  </a:cubicBezTo>
                  <a:cubicBezTo>
                    <a:pt x="201" y="14477"/>
                    <a:pt x="234" y="11242"/>
                    <a:pt x="234" y="7239"/>
                  </a:cubicBezTo>
                  <a:cubicBezTo>
                    <a:pt x="234" y="3236"/>
                    <a:pt x="168" y="0"/>
                    <a:pt x="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3" name="Google Shape;1604;g199c61c64ac_6_600"/>
            <p:cNvSpPr/>
            <p:nvPr/>
          </p:nvSpPr>
          <p:spPr>
            <a:xfrm>
              <a:off x="3244150" y="1804225"/>
              <a:ext cx="34225" cy="29500"/>
            </a:xfrm>
            <a:custGeom>
              <a:avLst/>
              <a:ahLst/>
              <a:rect l="l" t="t" r="r" b="b"/>
              <a:pathLst>
                <a:path w="1369" h="1180" extrusionOk="0">
                  <a:moveTo>
                    <a:pt x="768" y="1"/>
                  </a:moveTo>
                  <a:cubicBezTo>
                    <a:pt x="268" y="1"/>
                    <a:pt x="1" y="635"/>
                    <a:pt x="368" y="1002"/>
                  </a:cubicBezTo>
                  <a:cubicBezTo>
                    <a:pt x="490" y="1124"/>
                    <a:pt x="642" y="1179"/>
                    <a:pt x="790" y="1179"/>
                  </a:cubicBezTo>
                  <a:cubicBezTo>
                    <a:pt x="1087" y="1179"/>
                    <a:pt x="1368" y="957"/>
                    <a:pt x="1368" y="601"/>
                  </a:cubicBezTo>
                  <a:cubicBezTo>
                    <a:pt x="1368" y="268"/>
                    <a:pt x="1101" y="1"/>
                    <a:pt x="7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4" name="Google Shape;1605;g199c61c64ac_6_600"/>
            <p:cNvSpPr/>
            <p:nvPr/>
          </p:nvSpPr>
          <p:spPr>
            <a:xfrm>
              <a:off x="3244150" y="1929325"/>
              <a:ext cx="34225" cy="29850"/>
            </a:xfrm>
            <a:custGeom>
              <a:avLst/>
              <a:ahLst/>
              <a:rect l="l" t="t" r="r" b="b"/>
              <a:pathLst>
                <a:path w="1369" h="1194" extrusionOk="0">
                  <a:moveTo>
                    <a:pt x="768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90" y="1135"/>
                    <a:pt x="642" y="1194"/>
                    <a:pt x="790" y="1194"/>
                  </a:cubicBezTo>
                  <a:cubicBezTo>
                    <a:pt x="1087" y="1194"/>
                    <a:pt x="1368" y="957"/>
                    <a:pt x="1368" y="601"/>
                  </a:cubicBezTo>
                  <a:cubicBezTo>
                    <a:pt x="1368" y="267"/>
                    <a:pt x="1101" y="0"/>
                    <a:pt x="7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5" name="Google Shape;1606;g199c61c64ac_6_600"/>
            <p:cNvSpPr/>
            <p:nvPr/>
          </p:nvSpPr>
          <p:spPr>
            <a:xfrm>
              <a:off x="3026500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7"/>
                    <a:pt x="0" y="134"/>
                  </a:cubicBezTo>
                  <a:cubicBezTo>
                    <a:pt x="0" y="167"/>
                    <a:pt x="3736" y="234"/>
                    <a:pt x="8340" y="234"/>
                  </a:cubicBezTo>
                  <a:cubicBezTo>
                    <a:pt x="12943" y="234"/>
                    <a:pt x="16679" y="167"/>
                    <a:pt x="16679" y="134"/>
                  </a:cubicBezTo>
                  <a:cubicBezTo>
                    <a:pt x="16679" y="34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6" name="Google Shape;1607;g199c61c64ac_6_600"/>
            <p:cNvSpPr/>
            <p:nvPr/>
          </p:nvSpPr>
          <p:spPr>
            <a:xfrm>
              <a:off x="3324200" y="2450525"/>
              <a:ext cx="5875" cy="362800"/>
            </a:xfrm>
            <a:custGeom>
              <a:avLst/>
              <a:ahLst/>
              <a:rect l="l" t="t" r="r" b="b"/>
              <a:pathLst>
                <a:path w="235" h="14512" extrusionOk="0">
                  <a:moveTo>
                    <a:pt x="134" y="1"/>
                  </a:moveTo>
                  <a:cubicBezTo>
                    <a:pt x="68" y="1"/>
                    <a:pt x="1" y="3270"/>
                    <a:pt x="1" y="7239"/>
                  </a:cubicBezTo>
                  <a:cubicBezTo>
                    <a:pt x="1" y="11242"/>
                    <a:pt x="68" y="14511"/>
                    <a:pt x="134" y="14511"/>
                  </a:cubicBezTo>
                  <a:cubicBezTo>
                    <a:pt x="201" y="14511"/>
                    <a:pt x="234" y="11242"/>
                    <a:pt x="234" y="7239"/>
                  </a:cubicBezTo>
                  <a:cubicBezTo>
                    <a:pt x="234" y="3236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7" name="Google Shape;1608;g199c61c64ac_6_600"/>
            <p:cNvSpPr/>
            <p:nvPr/>
          </p:nvSpPr>
          <p:spPr>
            <a:xfrm>
              <a:off x="3249150" y="2541425"/>
              <a:ext cx="29225" cy="29225"/>
            </a:xfrm>
            <a:custGeom>
              <a:avLst/>
              <a:ahLst/>
              <a:rect l="l" t="t" r="r" b="b"/>
              <a:pathLst>
                <a:path w="1169" h="1169" extrusionOk="0">
                  <a:moveTo>
                    <a:pt x="568" y="1"/>
                  </a:moveTo>
                  <a:cubicBezTo>
                    <a:pt x="268" y="1"/>
                    <a:pt x="1" y="234"/>
                    <a:pt x="1" y="568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5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8" name="Google Shape;1609;g199c61c64ac_6_600"/>
            <p:cNvSpPr/>
            <p:nvPr/>
          </p:nvSpPr>
          <p:spPr>
            <a:xfrm>
              <a:off x="3249150" y="2666525"/>
              <a:ext cx="29225" cy="29200"/>
            </a:xfrm>
            <a:custGeom>
              <a:avLst/>
              <a:ahLst/>
              <a:rect l="l" t="t" r="r" b="b"/>
              <a:pathLst>
                <a:path w="1169" h="1168" extrusionOk="0">
                  <a:moveTo>
                    <a:pt x="568" y="0"/>
                  </a:moveTo>
                  <a:cubicBezTo>
                    <a:pt x="268" y="0"/>
                    <a:pt x="1" y="267"/>
                    <a:pt x="1" y="567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89" name="Google Shape;1610;g199c61c64ac_6_600"/>
            <p:cNvSpPr/>
            <p:nvPr/>
          </p:nvSpPr>
          <p:spPr>
            <a:xfrm>
              <a:off x="3026500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0" y="34"/>
                    <a:pt x="0" y="101"/>
                  </a:cubicBezTo>
                  <a:cubicBezTo>
                    <a:pt x="0" y="134"/>
                    <a:pt x="3736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0" name="Google Shape;1611;g199c61c64ac_6_600"/>
            <p:cNvSpPr/>
            <p:nvPr/>
          </p:nvSpPr>
          <p:spPr>
            <a:xfrm>
              <a:off x="31399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3" y="1"/>
                    <a:pt x="0" y="3236"/>
                    <a:pt x="0" y="7239"/>
                  </a:cubicBezTo>
                  <a:cubicBezTo>
                    <a:pt x="0" y="11242"/>
                    <a:pt x="33" y="14478"/>
                    <a:pt x="100" y="14478"/>
                  </a:cubicBezTo>
                  <a:cubicBezTo>
                    <a:pt x="167" y="14478"/>
                    <a:pt x="200" y="11242"/>
                    <a:pt x="200" y="7239"/>
                  </a:cubicBezTo>
                  <a:cubicBezTo>
                    <a:pt x="200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1" name="Google Shape;1612;g199c61c64ac_6_600"/>
            <p:cNvSpPr/>
            <p:nvPr/>
          </p:nvSpPr>
          <p:spPr>
            <a:xfrm>
              <a:off x="3191625" y="2176175"/>
              <a:ext cx="34200" cy="29300"/>
            </a:xfrm>
            <a:custGeom>
              <a:avLst/>
              <a:ahLst/>
              <a:rect l="l" t="t" r="r" b="b"/>
              <a:pathLst>
                <a:path w="1368" h="1172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19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2" name="Google Shape;1613;g199c61c64ac_6_600"/>
            <p:cNvSpPr/>
            <p:nvPr/>
          </p:nvSpPr>
          <p:spPr>
            <a:xfrm>
              <a:off x="3191625" y="2301250"/>
              <a:ext cx="34200" cy="29325"/>
            </a:xfrm>
            <a:custGeom>
              <a:avLst/>
              <a:ahLst/>
              <a:rect l="l" t="t" r="r" b="b"/>
              <a:pathLst>
                <a:path w="1368" h="1173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20"/>
                    <a:pt x="1001" y="1001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3" name="Google Shape;1614;g199c61c64ac_6_600"/>
            <p:cNvSpPr/>
            <p:nvPr/>
          </p:nvSpPr>
          <p:spPr>
            <a:xfrm>
              <a:off x="3052350" y="1572400"/>
              <a:ext cx="99275" cy="177650"/>
            </a:xfrm>
            <a:custGeom>
              <a:avLst/>
              <a:ahLst/>
              <a:rect l="l" t="t" r="r" b="b"/>
              <a:pathLst>
                <a:path w="3971" h="7106" extrusionOk="0">
                  <a:moveTo>
                    <a:pt x="3937" y="1"/>
                  </a:moveTo>
                  <a:cubicBezTo>
                    <a:pt x="3837" y="1"/>
                    <a:pt x="3737" y="67"/>
                    <a:pt x="3636" y="134"/>
                  </a:cubicBezTo>
                  <a:cubicBezTo>
                    <a:pt x="3536" y="167"/>
                    <a:pt x="3403" y="234"/>
                    <a:pt x="3303" y="334"/>
                  </a:cubicBezTo>
                  <a:cubicBezTo>
                    <a:pt x="3169" y="401"/>
                    <a:pt x="3036" y="501"/>
                    <a:pt x="2903" y="634"/>
                  </a:cubicBezTo>
                  <a:cubicBezTo>
                    <a:pt x="2536" y="901"/>
                    <a:pt x="2235" y="1235"/>
                    <a:pt x="1935" y="1602"/>
                  </a:cubicBezTo>
                  <a:cubicBezTo>
                    <a:pt x="1602" y="2035"/>
                    <a:pt x="1301" y="2502"/>
                    <a:pt x="1035" y="3003"/>
                  </a:cubicBezTo>
                  <a:cubicBezTo>
                    <a:pt x="601" y="3903"/>
                    <a:pt x="301" y="4871"/>
                    <a:pt x="134" y="5838"/>
                  </a:cubicBezTo>
                  <a:cubicBezTo>
                    <a:pt x="67" y="6138"/>
                    <a:pt x="34" y="6438"/>
                    <a:pt x="1" y="6739"/>
                  </a:cubicBezTo>
                  <a:cubicBezTo>
                    <a:pt x="1" y="6872"/>
                    <a:pt x="1" y="6972"/>
                    <a:pt x="1" y="7106"/>
                  </a:cubicBezTo>
                  <a:cubicBezTo>
                    <a:pt x="67" y="7106"/>
                    <a:pt x="101" y="6605"/>
                    <a:pt x="267" y="5871"/>
                  </a:cubicBezTo>
                  <a:cubicBezTo>
                    <a:pt x="468" y="4904"/>
                    <a:pt x="801" y="3970"/>
                    <a:pt x="1235" y="3103"/>
                  </a:cubicBezTo>
                  <a:cubicBezTo>
                    <a:pt x="1468" y="2602"/>
                    <a:pt x="1768" y="2135"/>
                    <a:pt x="2102" y="1702"/>
                  </a:cubicBezTo>
                  <a:cubicBezTo>
                    <a:pt x="2369" y="1368"/>
                    <a:pt x="2669" y="1035"/>
                    <a:pt x="3003" y="734"/>
                  </a:cubicBezTo>
                  <a:cubicBezTo>
                    <a:pt x="3570" y="234"/>
                    <a:pt x="3970" y="34"/>
                    <a:pt x="393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4" name="Google Shape;1615;g199c61c64ac_6_600"/>
            <p:cNvSpPr/>
            <p:nvPr/>
          </p:nvSpPr>
          <p:spPr>
            <a:xfrm>
              <a:off x="3191625" y="1552800"/>
              <a:ext cx="30050" cy="7525"/>
            </a:xfrm>
            <a:custGeom>
              <a:avLst/>
              <a:ahLst/>
              <a:rect l="l" t="t" r="r" b="b"/>
              <a:pathLst>
                <a:path w="1202" h="301" extrusionOk="0">
                  <a:moveTo>
                    <a:pt x="1026" y="1"/>
                  </a:moveTo>
                  <a:cubicBezTo>
                    <a:pt x="917" y="1"/>
                    <a:pt x="767" y="17"/>
                    <a:pt x="601" y="51"/>
                  </a:cubicBezTo>
                  <a:cubicBezTo>
                    <a:pt x="267" y="117"/>
                    <a:pt x="0" y="217"/>
                    <a:pt x="0" y="251"/>
                  </a:cubicBezTo>
                  <a:cubicBezTo>
                    <a:pt x="17" y="284"/>
                    <a:pt x="92" y="301"/>
                    <a:pt x="204" y="301"/>
                  </a:cubicBezTo>
                  <a:cubicBezTo>
                    <a:pt x="317" y="301"/>
                    <a:pt x="467" y="284"/>
                    <a:pt x="634" y="251"/>
                  </a:cubicBezTo>
                  <a:cubicBezTo>
                    <a:pt x="968" y="217"/>
                    <a:pt x="1201" y="117"/>
                    <a:pt x="1201" y="51"/>
                  </a:cubicBezTo>
                  <a:cubicBezTo>
                    <a:pt x="1201" y="17"/>
                    <a:pt x="1134" y="1"/>
                    <a:pt x="1026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5" name="Google Shape;1616;g199c61c64ac_6_600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6" name="Google Shape;1617;g199c61c64ac_6_600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7" name="Google Shape;1618;g199c61c64ac_6_600"/>
            <p:cNvSpPr/>
            <p:nvPr/>
          </p:nvSpPr>
          <p:spPr>
            <a:xfrm>
              <a:off x="4114775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8"/>
                    <a:pt x="1" y="134"/>
                  </a:cubicBezTo>
                  <a:cubicBezTo>
                    <a:pt x="1" y="168"/>
                    <a:pt x="3737" y="234"/>
                    <a:pt x="8340" y="234"/>
                  </a:cubicBezTo>
                  <a:cubicBezTo>
                    <a:pt x="12976" y="234"/>
                    <a:pt x="16679" y="168"/>
                    <a:pt x="16679" y="134"/>
                  </a:cubicBezTo>
                  <a:cubicBezTo>
                    <a:pt x="16679" y="68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8" name="Google Shape;1619;g199c61c64ac_6_600"/>
            <p:cNvSpPr/>
            <p:nvPr/>
          </p:nvSpPr>
          <p:spPr>
            <a:xfrm>
              <a:off x="4114775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70" y="0"/>
                    <a:pt x="1" y="34"/>
                    <a:pt x="1" y="100"/>
                  </a:cubicBezTo>
                  <a:cubicBezTo>
                    <a:pt x="1" y="167"/>
                    <a:pt x="3737" y="200"/>
                    <a:pt x="8340" y="200"/>
                  </a:cubicBezTo>
                  <a:cubicBezTo>
                    <a:pt x="12976" y="200"/>
                    <a:pt x="16679" y="167"/>
                    <a:pt x="16679" y="100"/>
                  </a:cubicBezTo>
                  <a:cubicBezTo>
                    <a:pt x="16679" y="34"/>
                    <a:pt x="12943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399" name="Google Shape;1620;g199c61c64ac_6_600"/>
            <p:cNvSpPr/>
            <p:nvPr/>
          </p:nvSpPr>
          <p:spPr>
            <a:xfrm>
              <a:off x="4228200" y="1714175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0"/>
                  </a:moveTo>
                  <a:cubicBezTo>
                    <a:pt x="67" y="0"/>
                    <a:pt x="0" y="3236"/>
                    <a:pt x="0" y="7239"/>
                  </a:cubicBezTo>
                  <a:cubicBezTo>
                    <a:pt x="0" y="11242"/>
                    <a:pt x="67" y="14477"/>
                    <a:pt x="100" y="14477"/>
                  </a:cubicBezTo>
                  <a:cubicBezTo>
                    <a:pt x="167" y="14477"/>
                    <a:pt x="200" y="11242"/>
                    <a:pt x="200" y="7239"/>
                  </a:cubicBezTo>
                  <a:cubicBezTo>
                    <a:pt x="200" y="3236"/>
                    <a:pt x="167" y="0"/>
                    <a:pt x="10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0" name="Google Shape;1621;g199c61c64ac_6_600"/>
            <p:cNvSpPr/>
            <p:nvPr/>
          </p:nvSpPr>
          <p:spPr>
            <a:xfrm>
              <a:off x="4279900" y="1804225"/>
              <a:ext cx="34200" cy="29500"/>
            </a:xfrm>
            <a:custGeom>
              <a:avLst/>
              <a:ahLst/>
              <a:rect l="l" t="t" r="r" b="b"/>
              <a:pathLst>
                <a:path w="1368" h="1180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57"/>
                    <a:pt x="282" y="1179"/>
                    <a:pt x="578" y="1179"/>
                  </a:cubicBezTo>
                  <a:cubicBezTo>
                    <a:pt x="727" y="1179"/>
                    <a:pt x="879" y="1124"/>
                    <a:pt x="1001" y="1002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1" name="Google Shape;1622;g199c61c64ac_6_600"/>
            <p:cNvSpPr/>
            <p:nvPr/>
          </p:nvSpPr>
          <p:spPr>
            <a:xfrm>
              <a:off x="4279900" y="1929325"/>
              <a:ext cx="34200" cy="29850"/>
            </a:xfrm>
            <a:custGeom>
              <a:avLst/>
              <a:ahLst/>
              <a:rect l="l" t="t" r="r" b="b"/>
              <a:pathLst>
                <a:path w="1368" h="1194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57"/>
                    <a:pt x="282" y="1194"/>
                    <a:pt x="578" y="1194"/>
                  </a:cubicBezTo>
                  <a:cubicBezTo>
                    <a:pt x="727" y="1194"/>
                    <a:pt x="879" y="1135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2" name="Google Shape;1623;g199c61c64ac_6_600"/>
            <p:cNvSpPr/>
            <p:nvPr/>
          </p:nvSpPr>
          <p:spPr>
            <a:xfrm>
              <a:off x="4114775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7"/>
                    <a:pt x="1" y="134"/>
                  </a:cubicBezTo>
                  <a:cubicBezTo>
                    <a:pt x="1" y="167"/>
                    <a:pt x="3737" y="234"/>
                    <a:pt x="8340" y="234"/>
                  </a:cubicBezTo>
                  <a:cubicBezTo>
                    <a:pt x="12976" y="234"/>
                    <a:pt x="16679" y="167"/>
                    <a:pt x="16679" y="134"/>
                  </a:cubicBezTo>
                  <a:cubicBezTo>
                    <a:pt x="16679" y="6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3" name="Google Shape;1624;g199c61c64ac_6_600"/>
            <p:cNvSpPr/>
            <p:nvPr/>
          </p:nvSpPr>
          <p:spPr>
            <a:xfrm>
              <a:off x="4228200" y="2450525"/>
              <a:ext cx="5850" cy="362800"/>
            </a:xfrm>
            <a:custGeom>
              <a:avLst/>
              <a:ahLst/>
              <a:rect l="l" t="t" r="r" b="b"/>
              <a:pathLst>
                <a:path w="234" h="14512" extrusionOk="0">
                  <a:moveTo>
                    <a:pt x="100" y="1"/>
                  </a:moveTo>
                  <a:cubicBezTo>
                    <a:pt x="67" y="1"/>
                    <a:pt x="0" y="3270"/>
                    <a:pt x="0" y="7239"/>
                  </a:cubicBezTo>
                  <a:cubicBezTo>
                    <a:pt x="0" y="11242"/>
                    <a:pt x="67" y="14511"/>
                    <a:pt x="100" y="14511"/>
                  </a:cubicBezTo>
                  <a:cubicBezTo>
                    <a:pt x="167" y="14511"/>
                    <a:pt x="234" y="11242"/>
                    <a:pt x="234" y="7239"/>
                  </a:cubicBezTo>
                  <a:cubicBezTo>
                    <a:pt x="234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4" name="Google Shape;1625;g199c61c64ac_6_600"/>
            <p:cNvSpPr/>
            <p:nvPr/>
          </p:nvSpPr>
          <p:spPr>
            <a:xfrm>
              <a:off x="4279900" y="2541425"/>
              <a:ext cx="29200" cy="29225"/>
            </a:xfrm>
            <a:custGeom>
              <a:avLst/>
              <a:ahLst/>
              <a:rect l="l" t="t" r="r" b="b"/>
              <a:pathLst>
                <a:path w="1168" h="1169" extrusionOk="0">
                  <a:moveTo>
                    <a:pt x="601" y="1"/>
                  </a:moveTo>
                  <a:cubicBezTo>
                    <a:pt x="267" y="1"/>
                    <a:pt x="0" y="234"/>
                    <a:pt x="0" y="568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5" name="Google Shape;1626;g199c61c64ac_6_600"/>
            <p:cNvSpPr/>
            <p:nvPr/>
          </p:nvSpPr>
          <p:spPr>
            <a:xfrm>
              <a:off x="4279900" y="2666525"/>
              <a:ext cx="29200" cy="29200"/>
            </a:xfrm>
            <a:custGeom>
              <a:avLst/>
              <a:ahLst/>
              <a:rect l="l" t="t" r="r" b="b"/>
              <a:pathLst>
                <a:path w="1168" h="1168" extrusionOk="0">
                  <a:moveTo>
                    <a:pt x="601" y="0"/>
                  </a:moveTo>
                  <a:cubicBezTo>
                    <a:pt x="267" y="0"/>
                    <a:pt x="0" y="267"/>
                    <a:pt x="0" y="567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6" name="Google Shape;1627;g199c61c64ac_6_600"/>
            <p:cNvSpPr/>
            <p:nvPr/>
          </p:nvSpPr>
          <p:spPr>
            <a:xfrm>
              <a:off x="4114775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1" y="34"/>
                    <a:pt x="1" y="101"/>
                  </a:cubicBezTo>
                  <a:cubicBezTo>
                    <a:pt x="1" y="167"/>
                    <a:pt x="3737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7" name="Google Shape;1628;g199c61c64ac_6_600"/>
            <p:cNvSpPr/>
            <p:nvPr/>
          </p:nvSpPr>
          <p:spPr>
            <a:xfrm>
              <a:off x="44133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4" y="1"/>
                    <a:pt x="0" y="3236"/>
                    <a:pt x="0" y="7239"/>
                  </a:cubicBezTo>
                  <a:cubicBezTo>
                    <a:pt x="0" y="11242"/>
                    <a:pt x="34" y="14478"/>
                    <a:pt x="100" y="14478"/>
                  </a:cubicBezTo>
                  <a:cubicBezTo>
                    <a:pt x="167" y="14478"/>
                    <a:pt x="201" y="11242"/>
                    <a:pt x="201" y="7239"/>
                  </a:cubicBezTo>
                  <a:cubicBezTo>
                    <a:pt x="201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8" name="Google Shape;1629;g199c61c64ac_6_600"/>
            <p:cNvSpPr/>
            <p:nvPr/>
          </p:nvSpPr>
          <p:spPr>
            <a:xfrm>
              <a:off x="4332425" y="2176175"/>
              <a:ext cx="34225" cy="29300"/>
            </a:xfrm>
            <a:custGeom>
              <a:avLst/>
              <a:ahLst/>
              <a:rect l="l" t="t" r="r" b="b"/>
              <a:pathLst>
                <a:path w="1369" h="1172" extrusionOk="0">
                  <a:moveTo>
                    <a:pt x="801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86" y="1119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7"/>
                    <a:pt x="1102" y="0"/>
                    <a:pt x="8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09" name="Google Shape;1630;g199c61c64ac_6_600"/>
            <p:cNvSpPr/>
            <p:nvPr/>
          </p:nvSpPr>
          <p:spPr>
            <a:xfrm>
              <a:off x="4332425" y="2301250"/>
              <a:ext cx="34225" cy="29325"/>
            </a:xfrm>
            <a:custGeom>
              <a:avLst/>
              <a:ahLst/>
              <a:rect l="l" t="t" r="r" b="b"/>
              <a:pathLst>
                <a:path w="1369" h="1173" extrusionOk="0">
                  <a:moveTo>
                    <a:pt x="801" y="1"/>
                  </a:moveTo>
                  <a:cubicBezTo>
                    <a:pt x="268" y="1"/>
                    <a:pt x="1" y="635"/>
                    <a:pt x="368" y="1001"/>
                  </a:cubicBezTo>
                  <a:cubicBezTo>
                    <a:pt x="486" y="1120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8"/>
                    <a:pt x="1102" y="1"/>
                    <a:pt x="8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0" name="Google Shape;1631;g199c61c64ac_6_600"/>
            <p:cNvSpPr/>
            <p:nvPr/>
          </p:nvSpPr>
          <p:spPr>
            <a:xfrm>
              <a:off x="4405825" y="1572400"/>
              <a:ext cx="100100" cy="177650"/>
            </a:xfrm>
            <a:custGeom>
              <a:avLst/>
              <a:ahLst/>
              <a:rect l="l" t="t" r="r" b="b"/>
              <a:pathLst>
                <a:path w="4004" h="7106" extrusionOk="0">
                  <a:moveTo>
                    <a:pt x="34" y="1"/>
                  </a:moveTo>
                  <a:cubicBezTo>
                    <a:pt x="0" y="34"/>
                    <a:pt x="434" y="234"/>
                    <a:pt x="1001" y="734"/>
                  </a:cubicBezTo>
                  <a:cubicBezTo>
                    <a:pt x="1334" y="1035"/>
                    <a:pt x="1635" y="1368"/>
                    <a:pt x="1902" y="1702"/>
                  </a:cubicBezTo>
                  <a:cubicBezTo>
                    <a:pt x="2235" y="2135"/>
                    <a:pt x="2502" y="2602"/>
                    <a:pt x="2735" y="3103"/>
                  </a:cubicBezTo>
                  <a:cubicBezTo>
                    <a:pt x="3169" y="3970"/>
                    <a:pt x="3503" y="4904"/>
                    <a:pt x="3703" y="5871"/>
                  </a:cubicBezTo>
                  <a:cubicBezTo>
                    <a:pt x="3870" y="6639"/>
                    <a:pt x="3936" y="7106"/>
                    <a:pt x="3970" y="7106"/>
                  </a:cubicBezTo>
                  <a:cubicBezTo>
                    <a:pt x="4003" y="6972"/>
                    <a:pt x="4003" y="6872"/>
                    <a:pt x="3970" y="6739"/>
                  </a:cubicBezTo>
                  <a:cubicBezTo>
                    <a:pt x="3936" y="6438"/>
                    <a:pt x="3903" y="6138"/>
                    <a:pt x="3870" y="5838"/>
                  </a:cubicBezTo>
                  <a:cubicBezTo>
                    <a:pt x="3703" y="4871"/>
                    <a:pt x="3369" y="3903"/>
                    <a:pt x="2936" y="3003"/>
                  </a:cubicBezTo>
                  <a:cubicBezTo>
                    <a:pt x="2702" y="2502"/>
                    <a:pt x="2402" y="2035"/>
                    <a:pt x="2035" y="1602"/>
                  </a:cubicBezTo>
                  <a:cubicBezTo>
                    <a:pt x="1768" y="1235"/>
                    <a:pt x="1435" y="901"/>
                    <a:pt x="1101" y="634"/>
                  </a:cubicBezTo>
                  <a:cubicBezTo>
                    <a:pt x="968" y="501"/>
                    <a:pt x="801" y="401"/>
                    <a:pt x="667" y="334"/>
                  </a:cubicBezTo>
                  <a:cubicBezTo>
                    <a:pt x="567" y="234"/>
                    <a:pt x="467" y="167"/>
                    <a:pt x="334" y="134"/>
                  </a:cubicBezTo>
                  <a:cubicBezTo>
                    <a:pt x="234" y="67"/>
                    <a:pt x="134" y="1"/>
                    <a:pt x="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1" name="Google Shape;1632;g199c61c64ac_6_600"/>
            <p:cNvSpPr/>
            <p:nvPr/>
          </p:nvSpPr>
          <p:spPr>
            <a:xfrm>
              <a:off x="4335775" y="1552800"/>
              <a:ext cx="30875" cy="7750"/>
            </a:xfrm>
            <a:custGeom>
              <a:avLst/>
              <a:ahLst/>
              <a:rect l="l" t="t" r="r" b="b"/>
              <a:pathLst>
                <a:path w="1235" h="310" extrusionOk="0">
                  <a:moveTo>
                    <a:pt x="209" y="1"/>
                  </a:moveTo>
                  <a:cubicBezTo>
                    <a:pt x="100" y="1"/>
                    <a:pt x="34" y="17"/>
                    <a:pt x="34" y="51"/>
                  </a:cubicBezTo>
                  <a:cubicBezTo>
                    <a:pt x="0" y="117"/>
                    <a:pt x="267" y="217"/>
                    <a:pt x="601" y="284"/>
                  </a:cubicBezTo>
                  <a:cubicBezTo>
                    <a:pt x="767" y="301"/>
                    <a:pt x="918" y="309"/>
                    <a:pt x="1030" y="309"/>
                  </a:cubicBezTo>
                  <a:cubicBezTo>
                    <a:pt x="1143" y="309"/>
                    <a:pt x="1218" y="301"/>
                    <a:pt x="1234" y="284"/>
                  </a:cubicBezTo>
                  <a:cubicBezTo>
                    <a:pt x="1234" y="217"/>
                    <a:pt x="968" y="117"/>
                    <a:pt x="634" y="51"/>
                  </a:cubicBezTo>
                  <a:cubicBezTo>
                    <a:pt x="467" y="17"/>
                    <a:pt x="317" y="1"/>
                    <a:pt x="20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2" name="Google Shape;1633;g199c61c64ac_6_600"/>
            <p:cNvSpPr/>
            <p:nvPr/>
          </p:nvSpPr>
          <p:spPr>
            <a:xfrm>
              <a:off x="3443475" y="912750"/>
              <a:ext cx="674650" cy="2686950"/>
            </a:xfrm>
            <a:custGeom>
              <a:avLst/>
              <a:ahLst/>
              <a:rect l="l" t="t" r="r" b="b"/>
              <a:pathLst>
                <a:path w="26986" h="107478" extrusionOk="0">
                  <a:moveTo>
                    <a:pt x="12075" y="1"/>
                  </a:moveTo>
                  <a:cubicBezTo>
                    <a:pt x="10541" y="1"/>
                    <a:pt x="9140" y="902"/>
                    <a:pt x="8473" y="2269"/>
                  </a:cubicBezTo>
                  <a:lnTo>
                    <a:pt x="2635" y="13344"/>
                  </a:lnTo>
                  <a:cubicBezTo>
                    <a:pt x="901" y="16580"/>
                    <a:pt x="0" y="20215"/>
                    <a:pt x="0" y="23918"/>
                  </a:cubicBezTo>
                  <a:lnTo>
                    <a:pt x="0" y="100907"/>
                  </a:lnTo>
                  <a:lnTo>
                    <a:pt x="10274" y="107478"/>
                  </a:lnTo>
                  <a:lnTo>
                    <a:pt x="17379" y="107478"/>
                  </a:lnTo>
                  <a:lnTo>
                    <a:pt x="26986" y="100907"/>
                  </a:lnTo>
                  <a:lnTo>
                    <a:pt x="26986" y="24252"/>
                  </a:lnTo>
                  <a:cubicBezTo>
                    <a:pt x="26986" y="20716"/>
                    <a:pt x="26119" y="17213"/>
                    <a:pt x="24551" y="14078"/>
                  </a:cubicBezTo>
                  <a:lnTo>
                    <a:pt x="18580" y="2203"/>
                  </a:lnTo>
                  <a:cubicBezTo>
                    <a:pt x="17879" y="868"/>
                    <a:pt x="16512" y="1"/>
                    <a:pt x="1501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3" name="Google Shape;1634;g199c61c64ac_6_600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4" name="Google Shape;1635;g199c61c64ac_6_600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5" name="Google Shape;1636;g199c61c64ac_6_600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6" name="Google Shape;1637;g199c61c64ac_6_600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7" name="Google Shape;1638;g199c61c64ac_6_600"/>
            <p:cNvSpPr/>
            <p:nvPr/>
          </p:nvSpPr>
          <p:spPr>
            <a:xfrm>
              <a:off x="3487650" y="1640775"/>
              <a:ext cx="6700" cy="635500"/>
            </a:xfrm>
            <a:custGeom>
              <a:avLst/>
              <a:ahLst/>
              <a:rect l="l" t="t" r="r" b="b"/>
              <a:pathLst>
                <a:path w="268" h="25420" extrusionOk="0">
                  <a:moveTo>
                    <a:pt x="134" y="1"/>
                  </a:moveTo>
                  <a:cubicBezTo>
                    <a:pt x="68" y="1"/>
                    <a:pt x="1" y="5705"/>
                    <a:pt x="1" y="12710"/>
                  </a:cubicBezTo>
                  <a:cubicBezTo>
                    <a:pt x="1" y="19715"/>
                    <a:pt x="68" y="25419"/>
                    <a:pt x="134" y="25419"/>
                  </a:cubicBezTo>
                  <a:cubicBezTo>
                    <a:pt x="168" y="25419"/>
                    <a:pt x="268" y="19682"/>
                    <a:pt x="268" y="12710"/>
                  </a:cubicBezTo>
                  <a:cubicBezTo>
                    <a:pt x="268" y="5705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8" name="Google Shape;1639;g199c61c64ac_6_600"/>
            <p:cNvSpPr/>
            <p:nvPr/>
          </p:nvSpPr>
          <p:spPr>
            <a:xfrm>
              <a:off x="3494325" y="1453150"/>
              <a:ext cx="6700" cy="57575"/>
            </a:xfrm>
            <a:custGeom>
              <a:avLst/>
              <a:ahLst/>
              <a:rect l="l" t="t" r="r" b="b"/>
              <a:pathLst>
                <a:path w="268" h="2303" extrusionOk="0">
                  <a:moveTo>
                    <a:pt x="134" y="0"/>
                  </a:moveTo>
                  <a:cubicBezTo>
                    <a:pt x="34" y="367"/>
                    <a:pt x="1" y="768"/>
                    <a:pt x="34" y="1135"/>
                  </a:cubicBezTo>
                  <a:cubicBezTo>
                    <a:pt x="1" y="1535"/>
                    <a:pt x="34" y="1935"/>
                    <a:pt x="134" y="2302"/>
                  </a:cubicBezTo>
                  <a:cubicBezTo>
                    <a:pt x="234" y="1935"/>
                    <a:pt x="268" y="1535"/>
                    <a:pt x="234" y="1135"/>
                  </a:cubicBezTo>
                  <a:cubicBezTo>
                    <a:pt x="268" y="768"/>
                    <a:pt x="234" y="367"/>
                    <a:pt x="13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19" name="Google Shape;1640;g199c61c64ac_6_600"/>
            <p:cNvSpPr/>
            <p:nvPr/>
          </p:nvSpPr>
          <p:spPr>
            <a:xfrm>
              <a:off x="3502675" y="961125"/>
              <a:ext cx="205175" cy="393650"/>
            </a:xfrm>
            <a:custGeom>
              <a:avLst/>
              <a:ahLst/>
              <a:rect l="l" t="t" r="r" b="b"/>
              <a:pathLst>
                <a:path w="8207" h="15746" extrusionOk="0">
                  <a:moveTo>
                    <a:pt x="8139" y="0"/>
                  </a:moveTo>
                  <a:cubicBezTo>
                    <a:pt x="8089" y="0"/>
                    <a:pt x="6228" y="3524"/>
                    <a:pt x="4003" y="7840"/>
                  </a:cubicBezTo>
                  <a:cubicBezTo>
                    <a:pt x="1768" y="12176"/>
                    <a:pt x="0" y="15712"/>
                    <a:pt x="67" y="15745"/>
                  </a:cubicBezTo>
                  <a:cubicBezTo>
                    <a:pt x="67" y="15745"/>
                    <a:pt x="68" y="15746"/>
                    <a:pt x="68" y="15746"/>
                  </a:cubicBezTo>
                  <a:cubicBezTo>
                    <a:pt x="151" y="15746"/>
                    <a:pt x="1979" y="12256"/>
                    <a:pt x="4203" y="7940"/>
                  </a:cubicBezTo>
                  <a:cubicBezTo>
                    <a:pt x="6438" y="3570"/>
                    <a:pt x="8206" y="34"/>
                    <a:pt x="8140" y="1"/>
                  </a:cubicBezTo>
                  <a:cubicBezTo>
                    <a:pt x="8139" y="1"/>
                    <a:pt x="8139" y="0"/>
                    <a:pt x="813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0" name="Google Shape;1641;g199c61c64ac_6_600"/>
            <p:cNvSpPr/>
            <p:nvPr/>
          </p:nvSpPr>
          <p:spPr>
            <a:xfrm>
              <a:off x="2848050" y="2433850"/>
              <a:ext cx="525400" cy="808950"/>
            </a:xfrm>
            <a:custGeom>
              <a:avLst/>
              <a:ahLst/>
              <a:rect l="l" t="t" r="r" b="b"/>
              <a:pathLst>
                <a:path w="21016" h="32358" extrusionOk="0">
                  <a:moveTo>
                    <a:pt x="21015" y="1"/>
                  </a:moveTo>
                  <a:cubicBezTo>
                    <a:pt x="20982" y="34"/>
                    <a:pt x="20982" y="67"/>
                    <a:pt x="20982" y="101"/>
                  </a:cubicBezTo>
                  <a:cubicBezTo>
                    <a:pt x="20948" y="167"/>
                    <a:pt x="20948" y="234"/>
                    <a:pt x="20915" y="367"/>
                  </a:cubicBezTo>
                  <a:cubicBezTo>
                    <a:pt x="20882" y="501"/>
                    <a:pt x="20848" y="668"/>
                    <a:pt x="20815" y="834"/>
                  </a:cubicBezTo>
                  <a:cubicBezTo>
                    <a:pt x="20748" y="1068"/>
                    <a:pt x="20681" y="1268"/>
                    <a:pt x="20615" y="1502"/>
                  </a:cubicBezTo>
                  <a:cubicBezTo>
                    <a:pt x="20214" y="2836"/>
                    <a:pt x="19681" y="4137"/>
                    <a:pt x="18947" y="5338"/>
                  </a:cubicBezTo>
                  <a:cubicBezTo>
                    <a:pt x="17879" y="7139"/>
                    <a:pt x="16645" y="8807"/>
                    <a:pt x="15211" y="10308"/>
                  </a:cubicBezTo>
                  <a:cubicBezTo>
                    <a:pt x="13610" y="12042"/>
                    <a:pt x="11708" y="13810"/>
                    <a:pt x="9707" y="15645"/>
                  </a:cubicBezTo>
                  <a:cubicBezTo>
                    <a:pt x="7806" y="17380"/>
                    <a:pt x="6104" y="19281"/>
                    <a:pt x="4570" y="21349"/>
                  </a:cubicBezTo>
                  <a:cubicBezTo>
                    <a:pt x="3936" y="22250"/>
                    <a:pt x="3302" y="23217"/>
                    <a:pt x="2769" y="24185"/>
                  </a:cubicBezTo>
                  <a:cubicBezTo>
                    <a:pt x="2302" y="25018"/>
                    <a:pt x="1868" y="25919"/>
                    <a:pt x="1468" y="26820"/>
                  </a:cubicBezTo>
                  <a:cubicBezTo>
                    <a:pt x="934" y="28121"/>
                    <a:pt x="534" y="29455"/>
                    <a:pt x="234" y="30856"/>
                  </a:cubicBezTo>
                  <a:cubicBezTo>
                    <a:pt x="133" y="31323"/>
                    <a:pt x="67" y="31723"/>
                    <a:pt x="33" y="31990"/>
                  </a:cubicBezTo>
                  <a:lnTo>
                    <a:pt x="0" y="32257"/>
                  </a:lnTo>
                  <a:cubicBezTo>
                    <a:pt x="0" y="32290"/>
                    <a:pt x="0" y="32324"/>
                    <a:pt x="0" y="32357"/>
                  </a:cubicBezTo>
                  <a:cubicBezTo>
                    <a:pt x="0" y="32324"/>
                    <a:pt x="33" y="32290"/>
                    <a:pt x="33" y="32257"/>
                  </a:cubicBezTo>
                  <a:lnTo>
                    <a:pt x="100" y="31990"/>
                  </a:lnTo>
                  <a:cubicBezTo>
                    <a:pt x="133" y="31723"/>
                    <a:pt x="200" y="31356"/>
                    <a:pt x="334" y="30856"/>
                  </a:cubicBezTo>
                  <a:cubicBezTo>
                    <a:pt x="634" y="29488"/>
                    <a:pt x="1101" y="28154"/>
                    <a:pt x="1635" y="26886"/>
                  </a:cubicBezTo>
                  <a:cubicBezTo>
                    <a:pt x="2035" y="25986"/>
                    <a:pt x="2468" y="25119"/>
                    <a:pt x="2935" y="24285"/>
                  </a:cubicBezTo>
                  <a:cubicBezTo>
                    <a:pt x="3503" y="23317"/>
                    <a:pt x="4103" y="22383"/>
                    <a:pt x="4770" y="21483"/>
                  </a:cubicBezTo>
                  <a:cubicBezTo>
                    <a:pt x="6271" y="19414"/>
                    <a:pt x="8006" y="17513"/>
                    <a:pt x="9874" y="15812"/>
                  </a:cubicBezTo>
                  <a:cubicBezTo>
                    <a:pt x="11875" y="13977"/>
                    <a:pt x="13777" y="12209"/>
                    <a:pt x="15378" y="10441"/>
                  </a:cubicBezTo>
                  <a:cubicBezTo>
                    <a:pt x="16812" y="8907"/>
                    <a:pt x="18046" y="7239"/>
                    <a:pt x="19080" y="5404"/>
                  </a:cubicBezTo>
                  <a:cubicBezTo>
                    <a:pt x="19814" y="4170"/>
                    <a:pt x="20348" y="2869"/>
                    <a:pt x="20715" y="1502"/>
                  </a:cubicBezTo>
                  <a:cubicBezTo>
                    <a:pt x="20782" y="1301"/>
                    <a:pt x="20815" y="1068"/>
                    <a:pt x="20882" y="868"/>
                  </a:cubicBezTo>
                  <a:lnTo>
                    <a:pt x="20948" y="401"/>
                  </a:lnTo>
                  <a:cubicBezTo>
                    <a:pt x="20982" y="267"/>
                    <a:pt x="21015" y="167"/>
                    <a:pt x="21015" y="101"/>
                  </a:cubicBezTo>
                  <a:cubicBezTo>
                    <a:pt x="21015" y="67"/>
                    <a:pt x="21015" y="34"/>
                    <a:pt x="21015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1" name="Google Shape;1642;g199c61c64ac_6_600"/>
            <p:cNvSpPr/>
            <p:nvPr/>
          </p:nvSpPr>
          <p:spPr>
            <a:xfrm>
              <a:off x="3602750" y="1328900"/>
              <a:ext cx="355275" cy="244350"/>
            </a:xfrm>
            <a:custGeom>
              <a:avLst/>
              <a:ahLst/>
              <a:rect l="l" t="t" r="r" b="b"/>
              <a:pathLst>
                <a:path w="14211" h="9774" extrusionOk="0">
                  <a:moveTo>
                    <a:pt x="4870" y="0"/>
                  </a:moveTo>
                  <a:cubicBezTo>
                    <a:pt x="2168" y="0"/>
                    <a:pt x="0" y="2202"/>
                    <a:pt x="0" y="4904"/>
                  </a:cubicBezTo>
                  <a:cubicBezTo>
                    <a:pt x="0" y="7606"/>
                    <a:pt x="2168" y="9774"/>
                    <a:pt x="4870" y="9774"/>
                  </a:cubicBezTo>
                  <a:lnTo>
                    <a:pt x="9340" y="9774"/>
                  </a:lnTo>
                  <a:cubicBezTo>
                    <a:pt x="12042" y="9774"/>
                    <a:pt x="14210" y="7606"/>
                    <a:pt x="14210" y="4904"/>
                  </a:cubicBezTo>
                  <a:cubicBezTo>
                    <a:pt x="14210" y="2202"/>
                    <a:pt x="12042" y="0"/>
                    <a:pt x="9340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2" name="Google Shape;1643;g199c61c64ac_6_600"/>
            <p:cNvSpPr/>
            <p:nvPr/>
          </p:nvSpPr>
          <p:spPr>
            <a:xfrm>
              <a:off x="3443475" y="3367850"/>
              <a:ext cx="674650" cy="231850"/>
            </a:xfrm>
            <a:custGeom>
              <a:avLst/>
              <a:ahLst/>
              <a:rect l="l" t="t" r="r" b="b"/>
              <a:pathLst>
                <a:path w="26986" h="9274" extrusionOk="0">
                  <a:moveTo>
                    <a:pt x="0" y="1"/>
                  </a:moveTo>
                  <a:lnTo>
                    <a:pt x="0" y="2703"/>
                  </a:lnTo>
                  <a:lnTo>
                    <a:pt x="10274" y="9274"/>
                  </a:lnTo>
                  <a:lnTo>
                    <a:pt x="17379" y="9274"/>
                  </a:lnTo>
                  <a:lnTo>
                    <a:pt x="26986" y="2703"/>
                  </a:lnTo>
                  <a:lnTo>
                    <a:pt x="2698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3000" id="7"/>
                                        <p:tgtEl>
                                          <p:spTgt spid="2097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8">
                            <p:stCondLst>
                              <p:cond delay="3000"/>
                            </p:stCondLst>
                            <p:childTnLst>
                              <p:par>
                                <p:cTn fill="hold" id="9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1"/>
                                        <p:tgtEl>
                                          <p:spTgt spid="10493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4"/>
                                        <p:tgtEl>
                                          <p:spTgt spid="1049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10" name="Shape 1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425" name="Google Shape;1648;g19b32c0fc37_0_42"/>
          <p:cNvSpPr txBox="1">
            <a:spLocks noGrp="1"/>
          </p:cNvSpPr>
          <p:nvPr>
            <p:ph type="title"/>
          </p:nvPr>
        </p:nvSpPr>
        <p:spPr>
          <a:xfrm>
            <a:off x="-22402" y="309485"/>
            <a:ext cx="12214500" cy="7635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Feature Importance with SHAP</a:t>
            </a:r>
            <a:endParaRPr b="0" cap="none" sz="4000" i="0" strike="noStrike" u="none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311" name="Google Shape;1649;g19b32c0fc37_0_42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426" name="Google Shape;1650;g19b32c0fc37_0_42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7" name="Google Shape;1651;g19b32c0fc37_0_42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8" name="Google Shape;1652;g19b32c0fc37_0_42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29" name="Google Shape;1653;g19b32c0fc37_0_42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0" name="Google Shape;1654;g19b32c0fc37_0_42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1" name="Google Shape;1655;g19b32c0fc37_0_42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2" name="Google Shape;1656;g19b32c0fc37_0_42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3" name="Google Shape;1657;g19b32c0fc37_0_42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4" name="Google Shape;1658;g19b32c0fc37_0_42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5" name="Google Shape;1659;g19b32c0fc37_0_42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6" name="Google Shape;1660;g19b32c0fc37_0_42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7" name="Google Shape;1661;g19b32c0fc37_0_42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12" name="Google Shape;1662;g19b32c0fc37_0_42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438" name="Google Shape;1663;g19b32c0fc37_0_42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39" name="Google Shape;1664;g19b32c0fc37_0_42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0" name="Google Shape;1665;g19b32c0fc37_0_42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1" name="Google Shape;1666;g19b32c0fc37_0_42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2" name="Google Shape;1667;g19b32c0fc37_0_42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3" name="Google Shape;1668;g19b32c0fc37_0_42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13" name="Google Shape;1669;g19b32c0fc37_0_42"/>
          <p:cNvGrpSpPr/>
          <p:nvPr/>
        </p:nvGrpSpPr>
        <p:grpSpPr>
          <a:xfrm>
            <a:off x="-3541" y="292506"/>
            <a:ext cx="1259757" cy="1470674"/>
            <a:chOff x="2059150" y="912750"/>
            <a:chExt cx="3531700" cy="4123000"/>
          </a:xfrm>
        </p:grpSpPr>
        <p:sp>
          <p:nvSpPr>
            <p:cNvPr id="1049444" name="Google Shape;1670;g19b32c0fc37_0_42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5" name="Google Shape;1671;g19b32c0fc37_0_42"/>
            <p:cNvSpPr/>
            <p:nvPr/>
          </p:nvSpPr>
          <p:spPr>
            <a:xfrm>
              <a:off x="5381525" y="4473450"/>
              <a:ext cx="125100" cy="242250"/>
            </a:xfrm>
            <a:custGeom>
              <a:avLst/>
              <a:ahLst/>
              <a:rect l="l" t="t" r="r" b="b"/>
              <a:pathLst>
                <a:path w="5004" h="9690" extrusionOk="0">
                  <a:moveTo>
                    <a:pt x="2868" y="0"/>
                  </a:moveTo>
                  <a:cubicBezTo>
                    <a:pt x="2758" y="0"/>
                    <a:pt x="2647" y="14"/>
                    <a:pt x="2535" y="42"/>
                  </a:cubicBezTo>
                  <a:cubicBezTo>
                    <a:pt x="1935" y="175"/>
                    <a:pt x="1568" y="775"/>
                    <a:pt x="1301" y="1343"/>
                  </a:cubicBezTo>
                  <a:cubicBezTo>
                    <a:pt x="500" y="3010"/>
                    <a:pt x="67" y="4812"/>
                    <a:pt x="67" y="6680"/>
                  </a:cubicBezTo>
                  <a:cubicBezTo>
                    <a:pt x="0" y="7514"/>
                    <a:pt x="200" y="8381"/>
                    <a:pt x="634" y="9115"/>
                  </a:cubicBezTo>
                  <a:cubicBezTo>
                    <a:pt x="926" y="9529"/>
                    <a:pt x="1338" y="9690"/>
                    <a:pt x="1749" y="9690"/>
                  </a:cubicBezTo>
                  <a:cubicBezTo>
                    <a:pt x="2232" y="9690"/>
                    <a:pt x="2714" y="9470"/>
                    <a:pt x="3002" y="9182"/>
                  </a:cubicBezTo>
                  <a:cubicBezTo>
                    <a:pt x="3536" y="8581"/>
                    <a:pt x="3869" y="7881"/>
                    <a:pt x="4003" y="7113"/>
                  </a:cubicBezTo>
                  <a:cubicBezTo>
                    <a:pt x="4503" y="5412"/>
                    <a:pt x="5004" y="3644"/>
                    <a:pt x="4637" y="1910"/>
                  </a:cubicBezTo>
                  <a:cubicBezTo>
                    <a:pt x="4537" y="1409"/>
                    <a:pt x="4303" y="909"/>
                    <a:pt x="3970" y="509"/>
                  </a:cubicBezTo>
                  <a:cubicBezTo>
                    <a:pt x="3679" y="192"/>
                    <a:pt x="3284" y="0"/>
                    <a:pt x="28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6" name="Google Shape;1672;g19b32c0fc37_0_42"/>
            <p:cNvSpPr/>
            <p:nvPr/>
          </p:nvSpPr>
          <p:spPr>
            <a:xfrm>
              <a:off x="5423200" y="4799975"/>
              <a:ext cx="167650" cy="101600"/>
            </a:xfrm>
            <a:custGeom>
              <a:avLst/>
              <a:ahLst/>
              <a:rect l="l" t="t" r="r" b="b"/>
              <a:pathLst>
                <a:path w="6706" h="4064" extrusionOk="0">
                  <a:moveTo>
                    <a:pt x="3595" y="1"/>
                  </a:moveTo>
                  <a:cubicBezTo>
                    <a:pt x="2794" y="1"/>
                    <a:pt x="2007" y="171"/>
                    <a:pt x="1302" y="524"/>
                  </a:cubicBezTo>
                  <a:cubicBezTo>
                    <a:pt x="668" y="824"/>
                    <a:pt x="234" y="1391"/>
                    <a:pt x="134" y="2058"/>
                  </a:cubicBezTo>
                  <a:cubicBezTo>
                    <a:pt x="1" y="2525"/>
                    <a:pt x="34" y="3059"/>
                    <a:pt x="268" y="3492"/>
                  </a:cubicBezTo>
                  <a:cubicBezTo>
                    <a:pt x="457" y="3844"/>
                    <a:pt x="843" y="4064"/>
                    <a:pt x="1231" y="4064"/>
                  </a:cubicBezTo>
                  <a:cubicBezTo>
                    <a:pt x="1322" y="4064"/>
                    <a:pt x="1413" y="4052"/>
                    <a:pt x="1502" y="4026"/>
                  </a:cubicBezTo>
                  <a:cubicBezTo>
                    <a:pt x="2002" y="3893"/>
                    <a:pt x="2236" y="3392"/>
                    <a:pt x="2669" y="3092"/>
                  </a:cubicBezTo>
                  <a:cubicBezTo>
                    <a:pt x="3101" y="2764"/>
                    <a:pt x="3633" y="2701"/>
                    <a:pt x="4180" y="2701"/>
                  </a:cubicBezTo>
                  <a:cubicBezTo>
                    <a:pt x="4523" y="2701"/>
                    <a:pt x="4871" y="2725"/>
                    <a:pt x="5205" y="2725"/>
                  </a:cubicBezTo>
                  <a:cubicBezTo>
                    <a:pt x="5251" y="2729"/>
                    <a:pt x="5298" y="2732"/>
                    <a:pt x="5344" y="2732"/>
                  </a:cubicBezTo>
                  <a:cubicBezTo>
                    <a:pt x="5664" y="2732"/>
                    <a:pt x="5977" y="2633"/>
                    <a:pt x="6239" y="2458"/>
                  </a:cubicBezTo>
                  <a:cubicBezTo>
                    <a:pt x="6706" y="2091"/>
                    <a:pt x="6639" y="1291"/>
                    <a:pt x="6239" y="824"/>
                  </a:cubicBezTo>
                  <a:cubicBezTo>
                    <a:pt x="5772" y="424"/>
                    <a:pt x="5205" y="157"/>
                    <a:pt x="4604" y="90"/>
                  </a:cubicBezTo>
                  <a:cubicBezTo>
                    <a:pt x="4269" y="31"/>
                    <a:pt x="3931" y="1"/>
                    <a:pt x="359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7" name="Google Shape;1673;g19b32c0fc37_0_42"/>
            <p:cNvSpPr/>
            <p:nvPr/>
          </p:nvSpPr>
          <p:spPr>
            <a:xfrm>
              <a:off x="5173025" y="4544325"/>
              <a:ext cx="203500" cy="199775"/>
            </a:xfrm>
            <a:custGeom>
              <a:avLst/>
              <a:ahLst/>
              <a:rect l="l" t="t" r="r" b="b"/>
              <a:pathLst>
                <a:path w="8140" h="7991" extrusionOk="0">
                  <a:moveTo>
                    <a:pt x="1763" y="0"/>
                  </a:moveTo>
                  <a:cubicBezTo>
                    <a:pt x="1687" y="0"/>
                    <a:pt x="1611" y="3"/>
                    <a:pt x="1535" y="9"/>
                  </a:cubicBezTo>
                  <a:cubicBezTo>
                    <a:pt x="1035" y="9"/>
                    <a:pt x="601" y="276"/>
                    <a:pt x="334" y="709"/>
                  </a:cubicBezTo>
                  <a:cubicBezTo>
                    <a:pt x="1" y="1343"/>
                    <a:pt x="334" y="2110"/>
                    <a:pt x="668" y="2711"/>
                  </a:cubicBezTo>
                  <a:cubicBezTo>
                    <a:pt x="1268" y="3811"/>
                    <a:pt x="1969" y="4845"/>
                    <a:pt x="2736" y="5846"/>
                  </a:cubicBezTo>
                  <a:cubicBezTo>
                    <a:pt x="3336" y="6647"/>
                    <a:pt x="4037" y="7414"/>
                    <a:pt x="4971" y="7781"/>
                  </a:cubicBezTo>
                  <a:cubicBezTo>
                    <a:pt x="5347" y="7915"/>
                    <a:pt x="5729" y="7990"/>
                    <a:pt x="6083" y="7990"/>
                  </a:cubicBezTo>
                  <a:cubicBezTo>
                    <a:pt x="6609" y="7990"/>
                    <a:pt x="7074" y="7826"/>
                    <a:pt x="7373" y="7447"/>
                  </a:cubicBezTo>
                  <a:lnTo>
                    <a:pt x="7373" y="7447"/>
                  </a:lnTo>
                  <a:lnTo>
                    <a:pt x="7306" y="7547"/>
                  </a:lnTo>
                  <a:cubicBezTo>
                    <a:pt x="7940" y="6713"/>
                    <a:pt x="8140" y="5613"/>
                    <a:pt x="7806" y="4612"/>
                  </a:cubicBezTo>
                  <a:cubicBezTo>
                    <a:pt x="7439" y="3611"/>
                    <a:pt x="6839" y="2744"/>
                    <a:pt x="6038" y="2077"/>
                  </a:cubicBezTo>
                  <a:cubicBezTo>
                    <a:pt x="5138" y="1276"/>
                    <a:pt x="4070" y="642"/>
                    <a:pt x="2936" y="242"/>
                  </a:cubicBezTo>
                  <a:cubicBezTo>
                    <a:pt x="2545" y="74"/>
                    <a:pt x="2154" y="0"/>
                    <a:pt x="1763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8" name="Google Shape;1674;g19b32c0fc37_0_42"/>
            <p:cNvSpPr/>
            <p:nvPr/>
          </p:nvSpPr>
          <p:spPr>
            <a:xfrm>
              <a:off x="5395700" y="4830575"/>
              <a:ext cx="115925" cy="202650"/>
            </a:xfrm>
            <a:custGeom>
              <a:avLst/>
              <a:ahLst/>
              <a:rect l="l" t="t" r="r" b="b"/>
              <a:pathLst>
                <a:path w="4637" h="8106" extrusionOk="0">
                  <a:moveTo>
                    <a:pt x="4203" y="0"/>
                  </a:moveTo>
                  <a:cubicBezTo>
                    <a:pt x="3836" y="34"/>
                    <a:pt x="3469" y="134"/>
                    <a:pt x="3136" y="300"/>
                  </a:cubicBezTo>
                  <a:cubicBezTo>
                    <a:pt x="2635" y="534"/>
                    <a:pt x="2202" y="867"/>
                    <a:pt x="1868" y="1301"/>
                  </a:cubicBezTo>
                  <a:cubicBezTo>
                    <a:pt x="1434" y="1835"/>
                    <a:pt x="1101" y="2435"/>
                    <a:pt x="867" y="3069"/>
                  </a:cubicBezTo>
                  <a:cubicBezTo>
                    <a:pt x="601" y="3669"/>
                    <a:pt x="434" y="4303"/>
                    <a:pt x="267" y="4970"/>
                  </a:cubicBezTo>
                  <a:cubicBezTo>
                    <a:pt x="167" y="5504"/>
                    <a:pt x="100" y="6038"/>
                    <a:pt x="67" y="6605"/>
                  </a:cubicBezTo>
                  <a:cubicBezTo>
                    <a:pt x="33" y="7072"/>
                    <a:pt x="33" y="7439"/>
                    <a:pt x="0" y="7706"/>
                  </a:cubicBezTo>
                  <a:cubicBezTo>
                    <a:pt x="0" y="7839"/>
                    <a:pt x="0" y="7973"/>
                    <a:pt x="33" y="8106"/>
                  </a:cubicBezTo>
                  <a:cubicBezTo>
                    <a:pt x="67" y="7973"/>
                    <a:pt x="100" y="7839"/>
                    <a:pt x="100" y="7706"/>
                  </a:cubicBezTo>
                  <a:cubicBezTo>
                    <a:pt x="134" y="7405"/>
                    <a:pt x="167" y="7039"/>
                    <a:pt x="200" y="6605"/>
                  </a:cubicBezTo>
                  <a:cubicBezTo>
                    <a:pt x="267" y="6071"/>
                    <a:pt x="334" y="5537"/>
                    <a:pt x="434" y="5004"/>
                  </a:cubicBezTo>
                  <a:cubicBezTo>
                    <a:pt x="601" y="4370"/>
                    <a:pt x="767" y="3736"/>
                    <a:pt x="1034" y="3102"/>
                  </a:cubicBezTo>
                  <a:cubicBezTo>
                    <a:pt x="1268" y="2502"/>
                    <a:pt x="1601" y="1935"/>
                    <a:pt x="2002" y="1401"/>
                  </a:cubicBezTo>
                  <a:cubicBezTo>
                    <a:pt x="2302" y="968"/>
                    <a:pt x="2735" y="634"/>
                    <a:pt x="3202" y="400"/>
                  </a:cubicBezTo>
                  <a:cubicBezTo>
                    <a:pt x="3536" y="234"/>
                    <a:pt x="3870" y="134"/>
                    <a:pt x="4236" y="67"/>
                  </a:cubicBezTo>
                  <a:cubicBezTo>
                    <a:pt x="4370" y="67"/>
                    <a:pt x="4503" y="34"/>
                    <a:pt x="46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49" name="Google Shape;1675;g19b32c0fc37_0_42"/>
            <p:cNvSpPr/>
            <p:nvPr/>
          </p:nvSpPr>
          <p:spPr>
            <a:xfrm>
              <a:off x="5395700" y="4561200"/>
              <a:ext cx="53375" cy="451200"/>
            </a:xfrm>
            <a:custGeom>
              <a:avLst/>
              <a:ahLst/>
              <a:rect l="l" t="t" r="r" b="b"/>
              <a:pathLst>
                <a:path w="2135" h="18048" extrusionOk="0">
                  <a:moveTo>
                    <a:pt x="2135" y="1"/>
                  </a:moveTo>
                  <a:lnTo>
                    <a:pt x="2135" y="1"/>
                  </a:lnTo>
                  <a:cubicBezTo>
                    <a:pt x="2102" y="68"/>
                    <a:pt x="2102" y="101"/>
                    <a:pt x="2068" y="168"/>
                  </a:cubicBezTo>
                  <a:lnTo>
                    <a:pt x="1935" y="668"/>
                  </a:lnTo>
                  <a:cubicBezTo>
                    <a:pt x="1868" y="901"/>
                    <a:pt x="1801" y="1168"/>
                    <a:pt x="1701" y="1502"/>
                  </a:cubicBezTo>
                  <a:cubicBezTo>
                    <a:pt x="1635" y="1802"/>
                    <a:pt x="1535" y="2169"/>
                    <a:pt x="1434" y="2569"/>
                  </a:cubicBezTo>
                  <a:cubicBezTo>
                    <a:pt x="1001" y="4671"/>
                    <a:pt x="667" y="6806"/>
                    <a:pt x="434" y="8941"/>
                  </a:cubicBezTo>
                  <a:cubicBezTo>
                    <a:pt x="167" y="11442"/>
                    <a:pt x="0" y="13711"/>
                    <a:pt x="0" y="15378"/>
                  </a:cubicBezTo>
                  <a:cubicBezTo>
                    <a:pt x="0" y="16212"/>
                    <a:pt x="0" y="16846"/>
                    <a:pt x="33" y="17313"/>
                  </a:cubicBezTo>
                  <a:cubicBezTo>
                    <a:pt x="33" y="17547"/>
                    <a:pt x="67" y="17713"/>
                    <a:pt x="67" y="17847"/>
                  </a:cubicBezTo>
                  <a:cubicBezTo>
                    <a:pt x="67" y="17914"/>
                    <a:pt x="100" y="17980"/>
                    <a:pt x="100" y="18047"/>
                  </a:cubicBezTo>
                  <a:cubicBezTo>
                    <a:pt x="134" y="17980"/>
                    <a:pt x="134" y="17914"/>
                    <a:pt x="100" y="17847"/>
                  </a:cubicBezTo>
                  <a:lnTo>
                    <a:pt x="100" y="17347"/>
                  </a:lnTo>
                  <a:cubicBezTo>
                    <a:pt x="100" y="16880"/>
                    <a:pt x="100" y="16212"/>
                    <a:pt x="134" y="15378"/>
                  </a:cubicBezTo>
                  <a:cubicBezTo>
                    <a:pt x="167" y="13744"/>
                    <a:pt x="334" y="11476"/>
                    <a:pt x="601" y="8974"/>
                  </a:cubicBezTo>
                  <a:cubicBezTo>
                    <a:pt x="867" y="6472"/>
                    <a:pt x="1234" y="4237"/>
                    <a:pt x="1568" y="2603"/>
                  </a:cubicBezTo>
                  <a:cubicBezTo>
                    <a:pt x="1635" y="2202"/>
                    <a:pt x="1735" y="1835"/>
                    <a:pt x="1801" y="1535"/>
                  </a:cubicBezTo>
                  <a:cubicBezTo>
                    <a:pt x="1868" y="1202"/>
                    <a:pt x="1935" y="935"/>
                    <a:pt x="2002" y="701"/>
                  </a:cubicBezTo>
                  <a:lnTo>
                    <a:pt x="2102" y="168"/>
                  </a:lnTo>
                  <a:cubicBezTo>
                    <a:pt x="2135" y="134"/>
                    <a:pt x="2135" y="68"/>
                    <a:pt x="213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0" name="Google Shape;1676;g19b32c0fc37_0_42"/>
            <p:cNvSpPr/>
            <p:nvPr/>
          </p:nvSpPr>
          <p:spPr>
            <a:xfrm>
              <a:off x="5252250" y="4595400"/>
              <a:ext cx="146800" cy="306900"/>
            </a:xfrm>
            <a:custGeom>
              <a:avLst/>
              <a:ahLst/>
              <a:rect l="l" t="t" r="r" b="b"/>
              <a:pathLst>
                <a:path w="5872" h="12276" extrusionOk="0">
                  <a:moveTo>
                    <a:pt x="1" y="0"/>
                  </a:moveTo>
                  <a:lnTo>
                    <a:pt x="1" y="0"/>
                  </a:lnTo>
                  <a:cubicBezTo>
                    <a:pt x="534" y="434"/>
                    <a:pt x="1035" y="868"/>
                    <a:pt x="1502" y="1368"/>
                  </a:cubicBezTo>
                  <a:cubicBezTo>
                    <a:pt x="2603" y="2602"/>
                    <a:pt x="3503" y="4003"/>
                    <a:pt x="4137" y="5538"/>
                  </a:cubicBezTo>
                  <a:cubicBezTo>
                    <a:pt x="4504" y="6372"/>
                    <a:pt x="4804" y="7239"/>
                    <a:pt x="5071" y="8106"/>
                  </a:cubicBezTo>
                  <a:cubicBezTo>
                    <a:pt x="5304" y="8907"/>
                    <a:pt x="5438" y="9641"/>
                    <a:pt x="5571" y="10274"/>
                  </a:cubicBezTo>
                  <a:cubicBezTo>
                    <a:pt x="5705" y="10875"/>
                    <a:pt x="5771" y="11409"/>
                    <a:pt x="5805" y="11742"/>
                  </a:cubicBezTo>
                  <a:cubicBezTo>
                    <a:pt x="5805" y="11942"/>
                    <a:pt x="5838" y="12109"/>
                    <a:pt x="5872" y="12276"/>
                  </a:cubicBezTo>
                  <a:cubicBezTo>
                    <a:pt x="5872" y="12109"/>
                    <a:pt x="5872" y="11909"/>
                    <a:pt x="5872" y="11742"/>
                  </a:cubicBezTo>
                  <a:cubicBezTo>
                    <a:pt x="5838" y="11375"/>
                    <a:pt x="5805" y="10875"/>
                    <a:pt x="5705" y="10241"/>
                  </a:cubicBezTo>
                  <a:cubicBezTo>
                    <a:pt x="5571" y="9507"/>
                    <a:pt x="5405" y="8773"/>
                    <a:pt x="5204" y="8040"/>
                  </a:cubicBezTo>
                  <a:cubicBezTo>
                    <a:pt x="4971" y="7172"/>
                    <a:pt x="4637" y="6305"/>
                    <a:pt x="4270" y="5471"/>
                  </a:cubicBezTo>
                  <a:cubicBezTo>
                    <a:pt x="3637" y="3903"/>
                    <a:pt x="2736" y="2502"/>
                    <a:pt x="1602" y="1301"/>
                  </a:cubicBezTo>
                  <a:cubicBezTo>
                    <a:pt x="1402" y="1068"/>
                    <a:pt x="1202" y="868"/>
                    <a:pt x="968" y="701"/>
                  </a:cubicBezTo>
                  <a:cubicBezTo>
                    <a:pt x="868" y="634"/>
                    <a:pt x="801" y="534"/>
                    <a:pt x="701" y="467"/>
                  </a:cubicBezTo>
                  <a:lnTo>
                    <a:pt x="468" y="301"/>
                  </a:lnTo>
                  <a:cubicBezTo>
                    <a:pt x="301" y="201"/>
                    <a:pt x="134" y="1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1" name="Google Shape;1677;g19b32c0fc37_0_42"/>
            <p:cNvSpPr/>
            <p:nvPr/>
          </p:nvSpPr>
          <p:spPr>
            <a:xfrm>
              <a:off x="2059150" y="3917425"/>
              <a:ext cx="537900" cy="1046600"/>
            </a:xfrm>
            <a:custGeom>
              <a:avLst/>
              <a:ahLst/>
              <a:rect l="l" t="t" r="r" b="b"/>
              <a:pathLst>
                <a:path w="21516" h="41864" extrusionOk="0">
                  <a:moveTo>
                    <a:pt x="6205" y="0"/>
                  </a:moveTo>
                  <a:lnTo>
                    <a:pt x="6205" y="0"/>
                  </a:lnTo>
                  <a:cubicBezTo>
                    <a:pt x="6150" y="12"/>
                    <a:pt x="6095" y="26"/>
                    <a:pt x="6041" y="43"/>
                  </a:cubicBezTo>
                  <a:lnTo>
                    <a:pt x="6041" y="43"/>
                  </a:lnTo>
                  <a:cubicBezTo>
                    <a:pt x="6097" y="30"/>
                    <a:pt x="6159" y="23"/>
                    <a:pt x="6205" y="0"/>
                  </a:cubicBezTo>
                  <a:close/>
                  <a:moveTo>
                    <a:pt x="6041" y="43"/>
                  </a:moveTo>
                  <a:lnTo>
                    <a:pt x="6041" y="43"/>
                  </a:lnTo>
                  <a:cubicBezTo>
                    <a:pt x="6017" y="49"/>
                    <a:pt x="5994" y="56"/>
                    <a:pt x="5974" y="65"/>
                  </a:cubicBezTo>
                  <a:lnTo>
                    <a:pt x="5974" y="65"/>
                  </a:lnTo>
                  <a:cubicBezTo>
                    <a:pt x="5996" y="58"/>
                    <a:pt x="6019" y="50"/>
                    <a:pt x="6041" y="43"/>
                  </a:cubicBezTo>
                  <a:close/>
                  <a:moveTo>
                    <a:pt x="5974" y="65"/>
                  </a:moveTo>
                  <a:cubicBezTo>
                    <a:pt x="5971" y="66"/>
                    <a:pt x="5968" y="67"/>
                    <a:pt x="5965" y="68"/>
                  </a:cubicBezTo>
                  <a:lnTo>
                    <a:pt x="5965" y="68"/>
                  </a:lnTo>
                  <a:cubicBezTo>
                    <a:pt x="5967" y="68"/>
                    <a:pt x="5969" y="67"/>
                    <a:pt x="5971" y="67"/>
                  </a:cubicBezTo>
                  <a:cubicBezTo>
                    <a:pt x="5972" y="66"/>
                    <a:pt x="5973" y="66"/>
                    <a:pt x="5974" y="65"/>
                  </a:cubicBezTo>
                  <a:close/>
                  <a:moveTo>
                    <a:pt x="6371" y="33"/>
                  </a:moveTo>
                  <a:cubicBezTo>
                    <a:pt x="6305" y="33"/>
                    <a:pt x="6205" y="33"/>
                    <a:pt x="6138" y="67"/>
                  </a:cubicBezTo>
                  <a:cubicBezTo>
                    <a:pt x="6224" y="50"/>
                    <a:pt x="6310" y="41"/>
                    <a:pt x="6395" y="41"/>
                  </a:cubicBezTo>
                  <a:cubicBezTo>
                    <a:pt x="6639" y="41"/>
                    <a:pt x="6874" y="110"/>
                    <a:pt x="7072" y="234"/>
                  </a:cubicBezTo>
                  <a:cubicBezTo>
                    <a:pt x="7439" y="400"/>
                    <a:pt x="7739" y="667"/>
                    <a:pt x="7973" y="967"/>
                  </a:cubicBezTo>
                  <a:cubicBezTo>
                    <a:pt x="8273" y="1401"/>
                    <a:pt x="8540" y="1868"/>
                    <a:pt x="8706" y="2368"/>
                  </a:cubicBezTo>
                  <a:cubicBezTo>
                    <a:pt x="9140" y="3536"/>
                    <a:pt x="9340" y="5004"/>
                    <a:pt x="9540" y="6772"/>
                  </a:cubicBezTo>
                  <a:cubicBezTo>
                    <a:pt x="9774" y="8506"/>
                    <a:pt x="10007" y="10508"/>
                    <a:pt x="10074" y="12776"/>
                  </a:cubicBezTo>
                  <a:cubicBezTo>
                    <a:pt x="10107" y="12943"/>
                    <a:pt x="10207" y="13143"/>
                    <a:pt x="10341" y="13310"/>
                  </a:cubicBezTo>
                  <a:cubicBezTo>
                    <a:pt x="10474" y="13476"/>
                    <a:pt x="10674" y="13610"/>
                    <a:pt x="10875" y="13643"/>
                  </a:cubicBezTo>
                  <a:cubicBezTo>
                    <a:pt x="11108" y="13610"/>
                    <a:pt x="11308" y="13576"/>
                    <a:pt x="11475" y="13443"/>
                  </a:cubicBezTo>
                  <a:cubicBezTo>
                    <a:pt x="11675" y="13343"/>
                    <a:pt x="11842" y="13209"/>
                    <a:pt x="12009" y="13109"/>
                  </a:cubicBezTo>
                  <a:cubicBezTo>
                    <a:pt x="12342" y="12876"/>
                    <a:pt x="12709" y="12642"/>
                    <a:pt x="13076" y="12442"/>
                  </a:cubicBezTo>
                  <a:cubicBezTo>
                    <a:pt x="13345" y="12296"/>
                    <a:pt x="13649" y="12203"/>
                    <a:pt x="13950" y="12203"/>
                  </a:cubicBezTo>
                  <a:cubicBezTo>
                    <a:pt x="14060" y="12203"/>
                    <a:pt x="14170" y="12215"/>
                    <a:pt x="14277" y="12242"/>
                  </a:cubicBezTo>
                  <a:cubicBezTo>
                    <a:pt x="14677" y="12409"/>
                    <a:pt x="14978" y="12742"/>
                    <a:pt x="15111" y="13143"/>
                  </a:cubicBezTo>
                  <a:cubicBezTo>
                    <a:pt x="15244" y="13576"/>
                    <a:pt x="15278" y="14043"/>
                    <a:pt x="15178" y="14477"/>
                  </a:cubicBezTo>
                  <a:cubicBezTo>
                    <a:pt x="15011" y="15411"/>
                    <a:pt x="14577" y="16245"/>
                    <a:pt x="14177" y="17179"/>
                  </a:cubicBezTo>
                  <a:lnTo>
                    <a:pt x="12976" y="19948"/>
                  </a:lnTo>
                  <a:lnTo>
                    <a:pt x="12376" y="21415"/>
                  </a:lnTo>
                  <a:cubicBezTo>
                    <a:pt x="12242" y="21649"/>
                    <a:pt x="12142" y="21882"/>
                    <a:pt x="12042" y="22149"/>
                  </a:cubicBezTo>
                  <a:cubicBezTo>
                    <a:pt x="11909" y="22383"/>
                    <a:pt x="11875" y="22683"/>
                    <a:pt x="11942" y="22983"/>
                  </a:cubicBezTo>
                  <a:cubicBezTo>
                    <a:pt x="12000" y="23128"/>
                    <a:pt x="12134" y="23223"/>
                    <a:pt x="12300" y="23223"/>
                  </a:cubicBezTo>
                  <a:cubicBezTo>
                    <a:pt x="12325" y="23223"/>
                    <a:pt x="12350" y="23221"/>
                    <a:pt x="12376" y="23217"/>
                  </a:cubicBezTo>
                  <a:cubicBezTo>
                    <a:pt x="12509" y="23217"/>
                    <a:pt x="12643" y="23183"/>
                    <a:pt x="12776" y="23117"/>
                  </a:cubicBezTo>
                  <a:lnTo>
                    <a:pt x="13543" y="22783"/>
                  </a:lnTo>
                  <a:cubicBezTo>
                    <a:pt x="14044" y="22549"/>
                    <a:pt x="14544" y="22349"/>
                    <a:pt x="15078" y="22183"/>
                  </a:cubicBezTo>
                  <a:cubicBezTo>
                    <a:pt x="15611" y="21982"/>
                    <a:pt x="16178" y="21882"/>
                    <a:pt x="16712" y="21882"/>
                  </a:cubicBezTo>
                  <a:cubicBezTo>
                    <a:pt x="16741" y="21881"/>
                    <a:pt x="16769" y="21880"/>
                    <a:pt x="16798" y="21880"/>
                  </a:cubicBezTo>
                  <a:cubicBezTo>
                    <a:pt x="17332" y="21880"/>
                    <a:pt x="17825" y="22174"/>
                    <a:pt x="18046" y="22650"/>
                  </a:cubicBezTo>
                  <a:cubicBezTo>
                    <a:pt x="18247" y="23183"/>
                    <a:pt x="18280" y="23784"/>
                    <a:pt x="18113" y="24317"/>
                  </a:cubicBezTo>
                  <a:cubicBezTo>
                    <a:pt x="17980" y="24885"/>
                    <a:pt x="17813" y="25452"/>
                    <a:pt x="17579" y="25985"/>
                  </a:cubicBezTo>
                  <a:cubicBezTo>
                    <a:pt x="17079" y="27086"/>
                    <a:pt x="16479" y="28154"/>
                    <a:pt x="15811" y="29188"/>
                  </a:cubicBezTo>
                  <a:cubicBezTo>
                    <a:pt x="15645" y="29454"/>
                    <a:pt x="15478" y="29721"/>
                    <a:pt x="15344" y="30022"/>
                  </a:cubicBezTo>
                  <a:cubicBezTo>
                    <a:pt x="15278" y="30188"/>
                    <a:pt x="15278" y="30388"/>
                    <a:pt x="15344" y="30555"/>
                  </a:cubicBezTo>
                  <a:cubicBezTo>
                    <a:pt x="15378" y="30589"/>
                    <a:pt x="15378" y="30622"/>
                    <a:pt x="15411" y="30689"/>
                  </a:cubicBezTo>
                  <a:cubicBezTo>
                    <a:pt x="15445" y="30722"/>
                    <a:pt x="15478" y="30755"/>
                    <a:pt x="15545" y="30789"/>
                  </a:cubicBezTo>
                  <a:cubicBezTo>
                    <a:pt x="15595" y="30805"/>
                    <a:pt x="15645" y="30814"/>
                    <a:pt x="15695" y="30814"/>
                  </a:cubicBezTo>
                  <a:cubicBezTo>
                    <a:pt x="15745" y="30814"/>
                    <a:pt x="15795" y="30805"/>
                    <a:pt x="15845" y="30789"/>
                  </a:cubicBezTo>
                  <a:cubicBezTo>
                    <a:pt x="16445" y="30522"/>
                    <a:pt x="17012" y="30222"/>
                    <a:pt x="17546" y="29888"/>
                  </a:cubicBezTo>
                  <a:cubicBezTo>
                    <a:pt x="18080" y="29555"/>
                    <a:pt x="18647" y="29288"/>
                    <a:pt x="19247" y="29054"/>
                  </a:cubicBezTo>
                  <a:cubicBezTo>
                    <a:pt x="19547" y="28954"/>
                    <a:pt x="19848" y="28887"/>
                    <a:pt x="20148" y="28854"/>
                  </a:cubicBezTo>
                  <a:cubicBezTo>
                    <a:pt x="20179" y="28851"/>
                    <a:pt x="20210" y="28849"/>
                    <a:pt x="20241" y="28849"/>
                  </a:cubicBezTo>
                  <a:cubicBezTo>
                    <a:pt x="20509" y="28849"/>
                    <a:pt x="20769" y="28975"/>
                    <a:pt x="20948" y="29154"/>
                  </a:cubicBezTo>
                  <a:cubicBezTo>
                    <a:pt x="21149" y="29388"/>
                    <a:pt x="21282" y="29688"/>
                    <a:pt x="21249" y="29988"/>
                  </a:cubicBezTo>
                  <a:cubicBezTo>
                    <a:pt x="21282" y="30288"/>
                    <a:pt x="21249" y="30622"/>
                    <a:pt x="21182" y="30922"/>
                  </a:cubicBezTo>
                  <a:cubicBezTo>
                    <a:pt x="21015" y="31556"/>
                    <a:pt x="20782" y="32190"/>
                    <a:pt x="20515" y="32757"/>
                  </a:cubicBezTo>
                  <a:cubicBezTo>
                    <a:pt x="19914" y="33958"/>
                    <a:pt x="19147" y="35092"/>
                    <a:pt x="18280" y="36093"/>
                  </a:cubicBezTo>
                  <a:cubicBezTo>
                    <a:pt x="17413" y="37160"/>
                    <a:pt x="16479" y="38127"/>
                    <a:pt x="15478" y="39061"/>
                  </a:cubicBezTo>
                  <a:cubicBezTo>
                    <a:pt x="14978" y="39528"/>
                    <a:pt x="14444" y="39962"/>
                    <a:pt x="13877" y="40362"/>
                  </a:cubicBezTo>
                  <a:lnTo>
                    <a:pt x="12264" y="41646"/>
                  </a:lnTo>
                  <a:lnTo>
                    <a:pt x="12264" y="41646"/>
                  </a:lnTo>
                  <a:lnTo>
                    <a:pt x="10374" y="40896"/>
                  </a:lnTo>
                  <a:cubicBezTo>
                    <a:pt x="9707" y="40662"/>
                    <a:pt x="9073" y="40396"/>
                    <a:pt x="8440" y="40129"/>
                  </a:cubicBezTo>
                  <a:cubicBezTo>
                    <a:pt x="7205" y="39528"/>
                    <a:pt x="6038" y="38861"/>
                    <a:pt x="4904" y="38094"/>
                  </a:cubicBezTo>
                  <a:cubicBezTo>
                    <a:pt x="3770" y="37360"/>
                    <a:pt x="2735" y="36526"/>
                    <a:pt x="1835" y="35559"/>
                  </a:cubicBezTo>
                  <a:cubicBezTo>
                    <a:pt x="1368" y="35058"/>
                    <a:pt x="968" y="34558"/>
                    <a:pt x="667" y="33991"/>
                  </a:cubicBezTo>
                  <a:cubicBezTo>
                    <a:pt x="501" y="33691"/>
                    <a:pt x="367" y="33391"/>
                    <a:pt x="300" y="33090"/>
                  </a:cubicBezTo>
                  <a:cubicBezTo>
                    <a:pt x="200" y="32790"/>
                    <a:pt x="234" y="32490"/>
                    <a:pt x="334" y="32223"/>
                  </a:cubicBezTo>
                  <a:cubicBezTo>
                    <a:pt x="501" y="31956"/>
                    <a:pt x="734" y="31756"/>
                    <a:pt x="1034" y="31689"/>
                  </a:cubicBezTo>
                  <a:cubicBezTo>
                    <a:pt x="1254" y="31641"/>
                    <a:pt x="1492" y="31610"/>
                    <a:pt x="1721" y="31610"/>
                  </a:cubicBezTo>
                  <a:cubicBezTo>
                    <a:pt x="1805" y="31610"/>
                    <a:pt x="1888" y="31614"/>
                    <a:pt x="1968" y="31623"/>
                  </a:cubicBezTo>
                  <a:cubicBezTo>
                    <a:pt x="2602" y="31656"/>
                    <a:pt x="3236" y="31756"/>
                    <a:pt x="3836" y="31923"/>
                  </a:cubicBezTo>
                  <a:cubicBezTo>
                    <a:pt x="4437" y="32090"/>
                    <a:pt x="5070" y="32223"/>
                    <a:pt x="5738" y="32290"/>
                  </a:cubicBezTo>
                  <a:cubicBezTo>
                    <a:pt x="5764" y="32299"/>
                    <a:pt x="5791" y="32303"/>
                    <a:pt x="5817" y="32303"/>
                  </a:cubicBezTo>
                  <a:cubicBezTo>
                    <a:pt x="5889" y="32303"/>
                    <a:pt x="5956" y="32272"/>
                    <a:pt x="6004" y="32223"/>
                  </a:cubicBezTo>
                  <a:cubicBezTo>
                    <a:pt x="6038" y="32156"/>
                    <a:pt x="6071" y="32123"/>
                    <a:pt x="6105" y="32090"/>
                  </a:cubicBezTo>
                  <a:cubicBezTo>
                    <a:pt x="6105" y="32023"/>
                    <a:pt x="6138" y="31990"/>
                    <a:pt x="6138" y="31956"/>
                  </a:cubicBezTo>
                  <a:cubicBezTo>
                    <a:pt x="6138" y="31756"/>
                    <a:pt x="6105" y="31556"/>
                    <a:pt x="5971" y="31423"/>
                  </a:cubicBezTo>
                  <a:cubicBezTo>
                    <a:pt x="5771" y="31189"/>
                    <a:pt x="5537" y="30956"/>
                    <a:pt x="5271" y="30789"/>
                  </a:cubicBezTo>
                  <a:cubicBezTo>
                    <a:pt x="4370" y="29988"/>
                    <a:pt x="3503" y="29121"/>
                    <a:pt x="2702" y="28220"/>
                  </a:cubicBezTo>
                  <a:cubicBezTo>
                    <a:pt x="2302" y="27753"/>
                    <a:pt x="1968" y="27286"/>
                    <a:pt x="1668" y="26753"/>
                  </a:cubicBezTo>
                  <a:cubicBezTo>
                    <a:pt x="1368" y="26286"/>
                    <a:pt x="1234" y="25718"/>
                    <a:pt x="1268" y="25151"/>
                  </a:cubicBezTo>
                  <a:cubicBezTo>
                    <a:pt x="1368" y="24584"/>
                    <a:pt x="1768" y="24151"/>
                    <a:pt x="2335" y="24051"/>
                  </a:cubicBezTo>
                  <a:cubicBezTo>
                    <a:pt x="2869" y="23884"/>
                    <a:pt x="3436" y="23817"/>
                    <a:pt x="4003" y="23817"/>
                  </a:cubicBezTo>
                  <a:cubicBezTo>
                    <a:pt x="4537" y="23850"/>
                    <a:pt x="5104" y="23884"/>
                    <a:pt x="5671" y="23951"/>
                  </a:cubicBezTo>
                  <a:lnTo>
                    <a:pt x="6505" y="24051"/>
                  </a:lnTo>
                  <a:cubicBezTo>
                    <a:pt x="6572" y="24067"/>
                    <a:pt x="6647" y="24076"/>
                    <a:pt x="6722" y="24076"/>
                  </a:cubicBezTo>
                  <a:cubicBezTo>
                    <a:pt x="6797" y="24076"/>
                    <a:pt x="6872" y="24067"/>
                    <a:pt x="6938" y="24051"/>
                  </a:cubicBezTo>
                  <a:cubicBezTo>
                    <a:pt x="7105" y="24017"/>
                    <a:pt x="7239" y="23884"/>
                    <a:pt x="7239" y="23717"/>
                  </a:cubicBezTo>
                  <a:cubicBezTo>
                    <a:pt x="7272" y="23417"/>
                    <a:pt x="7139" y="23117"/>
                    <a:pt x="6905" y="22916"/>
                  </a:cubicBezTo>
                  <a:lnTo>
                    <a:pt x="6405" y="22316"/>
                  </a:lnTo>
                  <a:lnTo>
                    <a:pt x="5404" y="21115"/>
                  </a:lnTo>
                  <a:lnTo>
                    <a:pt x="3436" y="18780"/>
                  </a:lnTo>
                  <a:cubicBezTo>
                    <a:pt x="2802" y="18013"/>
                    <a:pt x="2135" y="17312"/>
                    <a:pt x="1701" y="16478"/>
                  </a:cubicBezTo>
                  <a:cubicBezTo>
                    <a:pt x="1501" y="16078"/>
                    <a:pt x="1368" y="15645"/>
                    <a:pt x="1401" y="15211"/>
                  </a:cubicBezTo>
                  <a:cubicBezTo>
                    <a:pt x="1401" y="14777"/>
                    <a:pt x="1601" y="14377"/>
                    <a:pt x="1935" y="14077"/>
                  </a:cubicBezTo>
                  <a:cubicBezTo>
                    <a:pt x="2170" y="13948"/>
                    <a:pt x="2433" y="13889"/>
                    <a:pt x="2705" y="13889"/>
                  </a:cubicBezTo>
                  <a:cubicBezTo>
                    <a:pt x="2858" y="13889"/>
                    <a:pt x="3013" y="13907"/>
                    <a:pt x="3169" y="13943"/>
                  </a:cubicBezTo>
                  <a:cubicBezTo>
                    <a:pt x="3569" y="14010"/>
                    <a:pt x="3970" y="14110"/>
                    <a:pt x="4370" y="14244"/>
                  </a:cubicBezTo>
                  <a:cubicBezTo>
                    <a:pt x="4570" y="14310"/>
                    <a:pt x="4770" y="14377"/>
                    <a:pt x="4970" y="14444"/>
                  </a:cubicBezTo>
                  <a:cubicBezTo>
                    <a:pt x="5070" y="14460"/>
                    <a:pt x="5179" y="14469"/>
                    <a:pt x="5287" y="14469"/>
                  </a:cubicBezTo>
                  <a:cubicBezTo>
                    <a:pt x="5396" y="14469"/>
                    <a:pt x="5504" y="14460"/>
                    <a:pt x="5604" y="14444"/>
                  </a:cubicBezTo>
                  <a:cubicBezTo>
                    <a:pt x="5804" y="14344"/>
                    <a:pt x="5971" y="14177"/>
                    <a:pt x="6038" y="13977"/>
                  </a:cubicBezTo>
                  <a:cubicBezTo>
                    <a:pt x="6105" y="13777"/>
                    <a:pt x="6138" y="13576"/>
                    <a:pt x="6138" y="13376"/>
                  </a:cubicBezTo>
                  <a:cubicBezTo>
                    <a:pt x="5638" y="11408"/>
                    <a:pt x="5237" y="9407"/>
                    <a:pt x="4937" y="7405"/>
                  </a:cubicBezTo>
                  <a:cubicBezTo>
                    <a:pt x="4637" y="5938"/>
                    <a:pt x="4470" y="4470"/>
                    <a:pt x="4470" y="2969"/>
                  </a:cubicBezTo>
                  <a:cubicBezTo>
                    <a:pt x="4503" y="2435"/>
                    <a:pt x="4603" y="1901"/>
                    <a:pt x="4770" y="1401"/>
                  </a:cubicBezTo>
                  <a:cubicBezTo>
                    <a:pt x="4904" y="1034"/>
                    <a:pt x="5104" y="701"/>
                    <a:pt x="5371" y="434"/>
                  </a:cubicBezTo>
                  <a:cubicBezTo>
                    <a:pt x="5542" y="263"/>
                    <a:pt x="5749" y="145"/>
                    <a:pt x="5965" y="68"/>
                  </a:cubicBezTo>
                  <a:lnTo>
                    <a:pt x="5965" y="68"/>
                  </a:lnTo>
                  <a:cubicBezTo>
                    <a:pt x="5734" y="135"/>
                    <a:pt x="5536" y="235"/>
                    <a:pt x="5337" y="400"/>
                  </a:cubicBezTo>
                  <a:cubicBezTo>
                    <a:pt x="5070" y="701"/>
                    <a:pt x="4837" y="1034"/>
                    <a:pt x="4737" y="1401"/>
                  </a:cubicBezTo>
                  <a:cubicBezTo>
                    <a:pt x="4537" y="1901"/>
                    <a:pt x="4437" y="2435"/>
                    <a:pt x="4403" y="2969"/>
                  </a:cubicBezTo>
                  <a:cubicBezTo>
                    <a:pt x="4403" y="4470"/>
                    <a:pt x="4537" y="5971"/>
                    <a:pt x="4837" y="7439"/>
                  </a:cubicBezTo>
                  <a:cubicBezTo>
                    <a:pt x="5137" y="9407"/>
                    <a:pt x="5537" y="11408"/>
                    <a:pt x="6038" y="13343"/>
                  </a:cubicBezTo>
                  <a:cubicBezTo>
                    <a:pt x="6038" y="13710"/>
                    <a:pt x="5938" y="14143"/>
                    <a:pt x="5571" y="14277"/>
                  </a:cubicBezTo>
                  <a:cubicBezTo>
                    <a:pt x="5487" y="14294"/>
                    <a:pt x="5396" y="14302"/>
                    <a:pt x="5304" y="14302"/>
                  </a:cubicBezTo>
                  <a:cubicBezTo>
                    <a:pt x="5212" y="14302"/>
                    <a:pt x="5120" y="14294"/>
                    <a:pt x="5037" y="14277"/>
                  </a:cubicBezTo>
                  <a:cubicBezTo>
                    <a:pt x="4837" y="14244"/>
                    <a:pt x="4637" y="14177"/>
                    <a:pt x="4437" y="14110"/>
                  </a:cubicBezTo>
                  <a:cubicBezTo>
                    <a:pt x="4036" y="13977"/>
                    <a:pt x="3603" y="13843"/>
                    <a:pt x="3202" y="13777"/>
                  </a:cubicBezTo>
                  <a:cubicBezTo>
                    <a:pt x="3037" y="13729"/>
                    <a:pt x="2872" y="13707"/>
                    <a:pt x="2709" y="13707"/>
                  </a:cubicBezTo>
                  <a:cubicBezTo>
                    <a:pt x="2413" y="13707"/>
                    <a:pt x="2127" y="13781"/>
                    <a:pt x="1868" y="13910"/>
                  </a:cubicBezTo>
                  <a:cubicBezTo>
                    <a:pt x="1501" y="14210"/>
                    <a:pt x="1268" y="14677"/>
                    <a:pt x="1234" y="15144"/>
                  </a:cubicBezTo>
                  <a:cubicBezTo>
                    <a:pt x="1234" y="15611"/>
                    <a:pt x="1368" y="16112"/>
                    <a:pt x="1568" y="16512"/>
                  </a:cubicBezTo>
                  <a:cubicBezTo>
                    <a:pt x="2002" y="17379"/>
                    <a:pt x="2702" y="18080"/>
                    <a:pt x="3336" y="18847"/>
                  </a:cubicBezTo>
                  <a:lnTo>
                    <a:pt x="5271" y="21182"/>
                  </a:lnTo>
                  <a:lnTo>
                    <a:pt x="6271" y="22383"/>
                  </a:lnTo>
                  <a:cubicBezTo>
                    <a:pt x="6471" y="22583"/>
                    <a:pt x="6638" y="22783"/>
                    <a:pt x="6805" y="22983"/>
                  </a:cubicBezTo>
                  <a:cubicBezTo>
                    <a:pt x="6872" y="23083"/>
                    <a:pt x="6972" y="23183"/>
                    <a:pt x="7005" y="23317"/>
                  </a:cubicBezTo>
                  <a:cubicBezTo>
                    <a:pt x="7072" y="23417"/>
                    <a:pt x="7105" y="23517"/>
                    <a:pt x="7105" y="23650"/>
                  </a:cubicBezTo>
                  <a:cubicBezTo>
                    <a:pt x="7080" y="23800"/>
                    <a:pt x="6905" y="23875"/>
                    <a:pt x="6721" y="23875"/>
                  </a:cubicBezTo>
                  <a:cubicBezTo>
                    <a:pt x="6659" y="23875"/>
                    <a:pt x="6597" y="23867"/>
                    <a:pt x="6538" y="23850"/>
                  </a:cubicBezTo>
                  <a:lnTo>
                    <a:pt x="5704" y="23750"/>
                  </a:lnTo>
                  <a:cubicBezTo>
                    <a:pt x="5137" y="23684"/>
                    <a:pt x="4603" y="23650"/>
                    <a:pt x="4036" y="23617"/>
                  </a:cubicBezTo>
                  <a:cubicBezTo>
                    <a:pt x="3469" y="23617"/>
                    <a:pt x="2869" y="23684"/>
                    <a:pt x="2302" y="23817"/>
                  </a:cubicBezTo>
                  <a:cubicBezTo>
                    <a:pt x="2035" y="23917"/>
                    <a:pt x="1768" y="24084"/>
                    <a:pt x="1535" y="24284"/>
                  </a:cubicBezTo>
                  <a:cubicBezTo>
                    <a:pt x="1301" y="24484"/>
                    <a:pt x="1168" y="24784"/>
                    <a:pt x="1134" y="25118"/>
                  </a:cubicBezTo>
                  <a:cubicBezTo>
                    <a:pt x="1068" y="25718"/>
                    <a:pt x="1234" y="26319"/>
                    <a:pt x="1535" y="26853"/>
                  </a:cubicBezTo>
                  <a:cubicBezTo>
                    <a:pt x="1835" y="27386"/>
                    <a:pt x="2168" y="27887"/>
                    <a:pt x="2569" y="28320"/>
                  </a:cubicBezTo>
                  <a:cubicBezTo>
                    <a:pt x="3369" y="29254"/>
                    <a:pt x="4237" y="30122"/>
                    <a:pt x="5171" y="30922"/>
                  </a:cubicBezTo>
                  <a:cubicBezTo>
                    <a:pt x="5437" y="31122"/>
                    <a:pt x="5638" y="31322"/>
                    <a:pt x="5838" y="31556"/>
                  </a:cubicBezTo>
                  <a:cubicBezTo>
                    <a:pt x="5938" y="31656"/>
                    <a:pt x="5971" y="31756"/>
                    <a:pt x="5938" y="31890"/>
                  </a:cubicBezTo>
                  <a:cubicBezTo>
                    <a:pt x="5938" y="31923"/>
                    <a:pt x="5938" y="31956"/>
                    <a:pt x="5938" y="31990"/>
                  </a:cubicBezTo>
                  <a:cubicBezTo>
                    <a:pt x="5904" y="32023"/>
                    <a:pt x="5904" y="32056"/>
                    <a:pt x="5904" y="32056"/>
                  </a:cubicBezTo>
                  <a:cubicBezTo>
                    <a:pt x="5838" y="32090"/>
                    <a:pt x="5804" y="32090"/>
                    <a:pt x="5738" y="32090"/>
                  </a:cubicBezTo>
                  <a:cubicBezTo>
                    <a:pt x="5137" y="32023"/>
                    <a:pt x="4503" y="31890"/>
                    <a:pt x="3903" y="31723"/>
                  </a:cubicBezTo>
                  <a:cubicBezTo>
                    <a:pt x="3303" y="31556"/>
                    <a:pt x="2635" y="31456"/>
                    <a:pt x="2002" y="31389"/>
                  </a:cubicBezTo>
                  <a:cubicBezTo>
                    <a:pt x="1668" y="31389"/>
                    <a:pt x="1334" y="31423"/>
                    <a:pt x="1001" y="31489"/>
                  </a:cubicBezTo>
                  <a:cubicBezTo>
                    <a:pt x="667" y="31556"/>
                    <a:pt x="367" y="31789"/>
                    <a:pt x="167" y="32123"/>
                  </a:cubicBezTo>
                  <a:cubicBezTo>
                    <a:pt x="34" y="32423"/>
                    <a:pt x="0" y="32790"/>
                    <a:pt x="100" y="33124"/>
                  </a:cubicBezTo>
                  <a:cubicBezTo>
                    <a:pt x="200" y="33457"/>
                    <a:pt x="334" y="33791"/>
                    <a:pt x="501" y="34058"/>
                  </a:cubicBezTo>
                  <a:cubicBezTo>
                    <a:pt x="834" y="34658"/>
                    <a:pt x="1234" y="35192"/>
                    <a:pt x="1701" y="35692"/>
                  </a:cubicBezTo>
                  <a:cubicBezTo>
                    <a:pt x="2602" y="36660"/>
                    <a:pt x="3669" y="37527"/>
                    <a:pt x="4804" y="38261"/>
                  </a:cubicBezTo>
                  <a:cubicBezTo>
                    <a:pt x="5938" y="39028"/>
                    <a:pt x="7139" y="39728"/>
                    <a:pt x="8373" y="40296"/>
                  </a:cubicBezTo>
                  <a:cubicBezTo>
                    <a:pt x="9007" y="40596"/>
                    <a:pt x="9640" y="40863"/>
                    <a:pt x="10308" y="41096"/>
                  </a:cubicBezTo>
                  <a:lnTo>
                    <a:pt x="12242" y="41863"/>
                  </a:lnTo>
                  <a:lnTo>
                    <a:pt x="12309" y="41863"/>
                  </a:lnTo>
                  <a:lnTo>
                    <a:pt x="12376" y="41830"/>
                  </a:lnTo>
                  <a:lnTo>
                    <a:pt x="14044" y="40562"/>
                  </a:lnTo>
                  <a:cubicBezTo>
                    <a:pt x="14577" y="40162"/>
                    <a:pt x="15144" y="39728"/>
                    <a:pt x="15645" y="39261"/>
                  </a:cubicBezTo>
                  <a:cubicBezTo>
                    <a:pt x="16679" y="38361"/>
                    <a:pt x="17613" y="37360"/>
                    <a:pt x="18480" y="36293"/>
                  </a:cubicBezTo>
                  <a:cubicBezTo>
                    <a:pt x="19381" y="35259"/>
                    <a:pt x="20115" y="34124"/>
                    <a:pt x="20715" y="32924"/>
                  </a:cubicBezTo>
                  <a:cubicBezTo>
                    <a:pt x="21015" y="32323"/>
                    <a:pt x="21249" y="31689"/>
                    <a:pt x="21415" y="31056"/>
                  </a:cubicBezTo>
                  <a:cubicBezTo>
                    <a:pt x="21482" y="30722"/>
                    <a:pt x="21516" y="30388"/>
                    <a:pt x="21516" y="30055"/>
                  </a:cubicBezTo>
                  <a:cubicBezTo>
                    <a:pt x="21516" y="29688"/>
                    <a:pt x="21382" y="29354"/>
                    <a:pt x="21149" y="29088"/>
                  </a:cubicBezTo>
                  <a:cubicBezTo>
                    <a:pt x="20909" y="28848"/>
                    <a:pt x="20615" y="28716"/>
                    <a:pt x="20291" y="28716"/>
                  </a:cubicBezTo>
                  <a:cubicBezTo>
                    <a:pt x="20255" y="28716"/>
                    <a:pt x="20218" y="28717"/>
                    <a:pt x="20181" y="28721"/>
                  </a:cubicBezTo>
                  <a:cubicBezTo>
                    <a:pt x="19848" y="28721"/>
                    <a:pt x="19514" y="28787"/>
                    <a:pt x="19214" y="28921"/>
                  </a:cubicBezTo>
                  <a:cubicBezTo>
                    <a:pt x="18613" y="29154"/>
                    <a:pt x="18013" y="29421"/>
                    <a:pt x="17479" y="29755"/>
                  </a:cubicBezTo>
                  <a:cubicBezTo>
                    <a:pt x="16946" y="30088"/>
                    <a:pt x="16379" y="30388"/>
                    <a:pt x="15811" y="30622"/>
                  </a:cubicBezTo>
                  <a:cubicBezTo>
                    <a:pt x="15795" y="30639"/>
                    <a:pt x="15770" y="30647"/>
                    <a:pt x="15745" y="30647"/>
                  </a:cubicBezTo>
                  <a:cubicBezTo>
                    <a:pt x="15720" y="30647"/>
                    <a:pt x="15695" y="30639"/>
                    <a:pt x="15678" y="30622"/>
                  </a:cubicBezTo>
                  <a:cubicBezTo>
                    <a:pt x="15678" y="30629"/>
                    <a:pt x="15675" y="30631"/>
                    <a:pt x="15671" y="30631"/>
                  </a:cubicBezTo>
                  <a:cubicBezTo>
                    <a:pt x="15654" y="30631"/>
                    <a:pt x="15611" y="30589"/>
                    <a:pt x="15611" y="30589"/>
                  </a:cubicBezTo>
                  <a:cubicBezTo>
                    <a:pt x="15578" y="30555"/>
                    <a:pt x="15578" y="30522"/>
                    <a:pt x="15578" y="30489"/>
                  </a:cubicBezTo>
                  <a:cubicBezTo>
                    <a:pt x="15511" y="30388"/>
                    <a:pt x="15511" y="30255"/>
                    <a:pt x="15578" y="30122"/>
                  </a:cubicBezTo>
                  <a:cubicBezTo>
                    <a:pt x="15678" y="29855"/>
                    <a:pt x="15845" y="29588"/>
                    <a:pt x="16012" y="29354"/>
                  </a:cubicBezTo>
                  <a:cubicBezTo>
                    <a:pt x="16679" y="28320"/>
                    <a:pt x="17279" y="27220"/>
                    <a:pt x="17780" y="26119"/>
                  </a:cubicBezTo>
                  <a:cubicBezTo>
                    <a:pt x="18013" y="25552"/>
                    <a:pt x="18213" y="24985"/>
                    <a:pt x="18347" y="24384"/>
                  </a:cubicBezTo>
                  <a:cubicBezTo>
                    <a:pt x="18513" y="23817"/>
                    <a:pt x="18480" y="23183"/>
                    <a:pt x="18247" y="22616"/>
                  </a:cubicBezTo>
                  <a:cubicBezTo>
                    <a:pt x="18113" y="22316"/>
                    <a:pt x="17913" y="22082"/>
                    <a:pt x="17613" y="21949"/>
                  </a:cubicBezTo>
                  <a:cubicBezTo>
                    <a:pt x="17346" y="21816"/>
                    <a:pt x="17046" y="21749"/>
                    <a:pt x="16745" y="21749"/>
                  </a:cubicBezTo>
                  <a:cubicBezTo>
                    <a:pt x="16178" y="21749"/>
                    <a:pt x="15611" y="21849"/>
                    <a:pt x="15044" y="22016"/>
                  </a:cubicBezTo>
                  <a:cubicBezTo>
                    <a:pt x="14511" y="22216"/>
                    <a:pt x="14010" y="22416"/>
                    <a:pt x="13476" y="22650"/>
                  </a:cubicBezTo>
                  <a:lnTo>
                    <a:pt x="12743" y="22983"/>
                  </a:lnTo>
                  <a:cubicBezTo>
                    <a:pt x="12626" y="23033"/>
                    <a:pt x="12492" y="23075"/>
                    <a:pt x="12380" y="23075"/>
                  </a:cubicBezTo>
                  <a:cubicBezTo>
                    <a:pt x="12267" y="23075"/>
                    <a:pt x="12176" y="23033"/>
                    <a:pt x="12142" y="22916"/>
                  </a:cubicBezTo>
                  <a:cubicBezTo>
                    <a:pt x="12075" y="22816"/>
                    <a:pt x="12075" y="22683"/>
                    <a:pt x="12109" y="22583"/>
                  </a:cubicBezTo>
                  <a:cubicBezTo>
                    <a:pt x="12142" y="22449"/>
                    <a:pt x="12176" y="22349"/>
                    <a:pt x="12242" y="22216"/>
                  </a:cubicBezTo>
                  <a:cubicBezTo>
                    <a:pt x="12342" y="21982"/>
                    <a:pt x="12442" y="21749"/>
                    <a:pt x="12542" y="21482"/>
                  </a:cubicBezTo>
                  <a:lnTo>
                    <a:pt x="13176" y="20048"/>
                  </a:lnTo>
                  <a:cubicBezTo>
                    <a:pt x="13577" y="19080"/>
                    <a:pt x="14010" y="18146"/>
                    <a:pt x="14377" y="17246"/>
                  </a:cubicBezTo>
                  <a:cubicBezTo>
                    <a:pt x="14744" y="16345"/>
                    <a:pt x="15211" y="15478"/>
                    <a:pt x="15378" y="14510"/>
                  </a:cubicBezTo>
                  <a:cubicBezTo>
                    <a:pt x="15445" y="14043"/>
                    <a:pt x="15445" y="13576"/>
                    <a:pt x="15278" y="13109"/>
                  </a:cubicBezTo>
                  <a:cubicBezTo>
                    <a:pt x="15111" y="12642"/>
                    <a:pt x="14777" y="12309"/>
                    <a:pt x="14344" y="12109"/>
                  </a:cubicBezTo>
                  <a:cubicBezTo>
                    <a:pt x="14222" y="12083"/>
                    <a:pt x="14100" y="12070"/>
                    <a:pt x="13979" y="12070"/>
                  </a:cubicBezTo>
                  <a:cubicBezTo>
                    <a:pt x="13637" y="12070"/>
                    <a:pt x="13305" y="12170"/>
                    <a:pt x="13009" y="12342"/>
                  </a:cubicBezTo>
                  <a:cubicBezTo>
                    <a:pt x="12643" y="12542"/>
                    <a:pt x="12276" y="12742"/>
                    <a:pt x="11942" y="13009"/>
                  </a:cubicBezTo>
                  <a:cubicBezTo>
                    <a:pt x="11775" y="13109"/>
                    <a:pt x="11575" y="13243"/>
                    <a:pt x="11408" y="13343"/>
                  </a:cubicBezTo>
                  <a:cubicBezTo>
                    <a:pt x="11242" y="13443"/>
                    <a:pt x="11075" y="13510"/>
                    <a:pt x="10875" y="13510"/>
                  </a:cubicBezTo>
                  <a:cubicBezTo>
                    <a:pt x="10508" y="13476"/>
                    <a:pt x="10274" y="13076"/>
                    <a:pt x="10174" y="12742"/>
                  </a:cubicBezTo>
                  <a:cubicBezTo>
                    <a:pt x="10107" y="10741"/>
                    <a:pt x="9941" y="8740"/>
                    <a:pt x="9640" y="6738"/>
                  </a:cubicBezTo>
                  <a:cubicBezTo>
                    <a:pt x="9407" y="5004"/>
                    <a:pt x="9207" y="3503"/>
                    <a:pt x="8740" y="2335"/>
                  </a:cubicBezTo>
                  <a:cubicBezTo>
                    <a:pt x="8573" y="1835"/>
                    <a:pt x="8306" y="1368"/>
                    <a:pt x="7973" y="934"/>
                  </a:cubicBezTo>
                  <a:cubicBezTo>
                    <a:pt x="7739" y="600"/>
                    <a:pt x="7439" y="367"/>
                    <a:pt x="7072" y="167"/>
                  </a:cubicBezTo>
                  <a:cubicBezTo>
                    <a:pt x="6872" y="67"/>
                    <a:pt x="6605" y="33"/>
                    <a:pt x="637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2" name="Google Shape;1678;g19b32c0fc37_0_42"/>
            <p:cNvSpPr/>
            <p:nvPr/>
          </p:nvSpPr>
          <p:spPr>
            <a:xfrm>
              <a:off x="2230100" y="4038325"/>
              <a:ext cx="146800" cy="997425"/>
            </a:xfrm>
            <a:custGeom>
              <a:avLst/>
              <a:ahLst/>
              <a:rect l="l" t="t" r="r" b="b"/>
              <a:pathLst>
                <a:path w="5872" h="39897" extrusionOk="0">
                  <a:moveTo>
                    <a:pt x="0" y="1"/>
                  </a:moveTo>
                  <a:lnTo>
                    <a:pt x="0" y="34"/>
                  </a:lnTo>
                  <a:lnTo>
                    <a:pt x="34" y="334"/>
                  </a:lnTo>
                  <a:cubicBezTo>
                    <a:pt x="34" y="201"/>
                    <a:pt x="0" y="101"/>
                    <a:pt x="0" y="1"/>
                  </a:cubicBezTo>
                  <a:close/>
                  <a:moveTo>
                    <a:pt x="34" y="334"/>
                  </a:moveTo>
                  <a:lnTo>
                    <a:pt x="34" y="334"/>
                  </a:lnTo>
                  <a:cubicBezTo>
                    <a:pt x="67" y="635"/>
                    <a:pt x="134" y="1068"/>
                    <a:pt x="201" y="1602"/>
                  </a:cubicBezTo>
                  <a:cubicBezTo>
                    <a:pt x="367" y="2669"/>
                    <a:pt x="601" y="4237"/>
                    <a:pt x="901" y="6139"/>
                  </a:cubicBezTo>
                  <a:cubicBezTo>
                    <a:pt x="1468" y="10008"/>
                    <a:pt x="2202" y="15312"/>
                    <a:pt x="3036" y="21183"/>
                  </a:cubicBezTo>
                  <a:cubicBezTo>
                    <a:pt x="3870" y="27087"/>
                    <a:pt x="5204" y="36027"/>
                    <a:pt x="5805" y="39896"/>
                  </a:cubicBezTo>
                  <a:lnTo>
                    <a:pt x="5871" y="39863"/>
                  </a:lnTo>
                  <a:cubicBezTo>
                    <a:pt x="5304" y="36027"/>
                    <a:pt x="3970" y="27054"/>
                    <a:pt x="3136" y="21183"/>
                  </a:cubicBezTo>
                  <a:cubicBezTo>
                    <a:pt x="2302" y="15312"/>
                    <a:pt x="1535" y="9975"/>
                    <a:pt x="968" y="6139"/>
                  </a:cubicBezTo>
                  <a:cubicBezTo>
                    <a:pt x="668" y="4204"/>
                    <a:pt x="434" y="2669"/>
                    <a:pt x="234" y="1569"/>
                  </a:cubicBezTo>
                  <a:cubicBezTo>
                    <a:pt x="167" y="1035"/>
                    <a:pt x="100" y="635"/>
                    <a:pt x="34" y="3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3" name="Google Shape;1679;g19b32c0fc37_0_42"/>
            <p:cNvSpPr/>
            <p:nvPr/>
          </p:nvSpPr>
          <p:spPr>
            <a:xfrm>
              <a:off x="2163375" y="4309350"/>
              <a:ext cx="121775" cy="105100"/>
            </a:xfrm>
            <a:custGeom>
              <a:avLst/>
              <a:ahLst/>
              <a:rect l="l" t="t" r="r" b="b"/>
              <a:pathLst>
                <a:path w="4871" h="4204" extrusionOk="0">
                  <a:moveTo>
                    <a:pt x="1" y="1"/>
                  </a:moveTo>
                  <a:cubicBezTo>
                    <a:pt x="34" y="68"/>
                    <a:pt x="101" y="134"/>
                    <a:pt x="168" y="201"/>
                  </a:cubicBezTo>
                  <a:lnTo>
                    <a:pt x="701" y="635"/>
                  </a:lnTo>
                  <a:lnTo>
                    <a:pt x="2403" y="2136"/>
                  </a:lnTo>
                  <a:cubicBezTo>
                    <a:pt x="3070" y="2736"/>
                    <a:pt x="3670" y="3270"/>
                    <a:pt x="4104" y="3670"/>
                  </a:cubicBezTo>
                  <a:cubicBezTo>
                    <a:pt x="4337" y="3837"/>
                    <a:pt x="4537" y="3970"/>
                    <a:pt x="4671" y="4070"/>
                  </a:cubicBezTo>
                  <a:cubicBezTo>
                    <a:pt x="4738" y="4137"/>
                    <a:pt x="4804" y="4171"/>
                    <a:pt x="4871" y="4204"/>
                  </a:cubicBezTo>
                  <a:cubicBezTo>
                    <a:pt x="4804" y="4137"/>
                    <a:pt x="4771" y="4070"/>
                    <a:pt x="4704" y="4037"/>
                  </a:cubicBezTo>
                  <a:lnTo>
                    <a:pt x="4170" y="3570"/>
                  </a:lnTo>
                  <a:lnTo>
                    <a:pt x="2469" y="2036"/>
                  </a:lnTo>
                  <a:cubicBezTo>
                    <a:pt x="1802" y="1435"/>
                    <a:pt x="1202" y="935"/>
                    <a:pt x="768" y="568"/>
                  </a:cubicBezTo>
                  <a:cubicBezTo>
                    <a:pt x="535" y="368"/>
                    <a:pt x="334" y="234"/>
                    <a:pt x="201" y="134"/>
                  </a:cubicBezTo>
                  <a:cubicBezTo>
                    <a:pt x="134" y="68"/>
                    <a:pt x="68" y="34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4" name="Google Shape;1680;g19b32c0fc37_0_42"/>
            <p:cNvSpPr/>
            <p:nvPr/>
          </p:nvSpPr>
          <p:spPr>
            <a:xfrm>
              <a:off x="2291800" y="4267650"/>
              <a:ext cx="119275" cy="144300"/>
            </a:xfrm>
            <a:custGeom>
              <a:avLst/>
              <a:ahLst/>
              <a:rect l="l" t="t" r="r" b="b"/>
              <a:pathLst>
                <a:path w="4771" h="5772" extrusionOk="0">
                  <a:moveTo>
                    <a:pt x="4736" y="0"/>
                  </a:moveTo>
                  <a:cubicBezTo>
                    <a:pt x="4677" y="0"/>
                    <a:pt x="3620" y="1288"/>
                    <a:pt x="2336" y="2836"/>
                  </a:cubicBezTo>
                  <a:cubicBezTo>
                    <a:pt x="1035" y="4438"/>
                    <a:pt x="1" y="5738"/>
                    <a:pt x="34" y="5772"/>
                  </a:cubicBezTo>
                  <a:cubicBezTo>
                    <a:pt x="68" y="5772"/>
                    <a:pt x="1135" y="4504"/>
                    <a:pt x="2436" y="2903"/>
                  </a:cubicBezTo>
                  <a:cubicBezTo>
                    <a:pt x="3737" y="1335"/>
                    <a:pt x="4771" y="1"/>
                    <a:pt x="4738" y="1"/>
                  </a:cubicBezTo>
                  <a:cubicBezTo>
                    <a:pt x="4737" y="1"/>
                    <a:pt x="4737" y="0"/>
                    <a:pt x="473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5" name="Google Shape;1681;g19b32c0fc37_0_42"/>
            <p:cNvSpPr/>
            <p:nvPr/>
          </p:nvSpPr>
          <p:spPr>
            <a:xfrm>
              <a:off x="2314325" y="4539525"/>
              <a:ext cx="130950" cy="99250"/>
            </a:xfrm>
            <a:custGeom>
              <a:avLst/>
              <a:ahLst/>
              <a:rect l="l" t="t" r="r" b="b"/>
              <a:pathLst>
                <a:path w="5238" h="3970" extrusionOk="0">
                  <a:moveTo>
                    <a:pt x="5238" y="1"/>
                  </a:moveTo>
                  <a:lnTo>
                    <a:pt x="5238" y="1"/>
                  </a:lnTo>
                  <a:cubicBezTo>
                    <a:pt x="5171" y="34"/>
                    <a:pt x="5104" y="101"/>
                    <a:pt x="5037" y="134"/>
                  </a:cubicBezTo>
                  <a:lnTo>
                    <a:pt x="4504" y="601"/>
                  </a:lnTo>
                  <a:cubicBezTo>
                    <a:pt x="4037" y="968"/>
                    <a:pt x="3403" y="1468"/>
                    <a:pt x="2669" y="2035"/>
                  </a:cubicBezTo>
                  <a:cubicBezTo>
                    <a:pt x="1935" y="2569"/>
                    <a:pt x="1268" y="3069"/>
                    <a:pt x="768" y="3403"/>
                  </a:cubicBezTo>
                  <a:lnTo>
                    <a:pt x="201" y="3803"/>
                  </a:lnTo>
                  <a:cubicBezTo>
                    <a:pt x="134" y="3870"/>
                    <a:pt x="67" y="3903"/>
                    <a:pt x="0" y="3970"/>
                  </a:cubicBezTo>
                  <a:cubicBezTo>
                    <a:pt x="67" y="3937"/>
                    <a:pt x="167" y="3903"/>
                    <a:pt x="234" y="3837"/>
                  </a:cubicBezTo>
                  <a:cubicBezTo>
                    <a:pt x="367" y="3737"/>
                    <a:pt x="568" y="3636"/>
                    <a:pt x="834" y="3470"/>
                  </a:cubicBezTo>
                  <a:cubicBezTo>
                    <a:pt x="1335" y="3136"/>
                    <a:pt x="2002" y="2669"/>
                    <a:pt x="2736" y="2135"/>
                  </a:cubicBezTo>
                  <a:cubicBezTo>
                    <a:pt x="3470" y="1568"/>
                    <a:pt x="4103" y="1068"/>
                    <a:pt x="4537" y="668"/>
                  </a:cubicBezTo>
                  <a:cubicBezTo>
                    <a:pt x="4771" y="468"/>
                    <a:pt x="4937" y="301"/>
                    <a:pt x="5071" y="167"/>
                  </a:cubicBezTo>
                  <a:cubicBezTo>
                    <a:pt x="5204" y="67"/>
                    <a:pt x="5238" y="1"/>
                    <a:pt x="523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6" name="Google Shape;1682;g19b32c0fc37_0_42"/>
            <p:cNvSpPr/>
            <p:nvPr/>
          </p:nvSpPr>
          <p:spPr>
            <a:xfrm>
              <a:off x="2176725" y="4572050"/>
              <a:ext cx="137625" cy="65075"/>
            </a:xfrm>
            <a:custGeom>
              <a:avLst/>
              <a:ahLst/>
              <a:rect l="l" t="t" r="r" b="b"/>
              <a:pathLst>
                <a:path w="5505" h="2603" extrusionOk="0">
                  <a:moveTo>
                    <a:pt x="1" y="0"/>
                  </a:moveTo>
                  <a:cubicBezTo>
                    <a:pt x="67" y="34"/>
                    <a:pt x="134" y="67"/>
                    <a:pt x="201" y="101"/>
                  </a:cubicBezTo>
                  <a:cubicBezTo>
                    <a:pt x="334" y="201"/>
                    <a:pt x="534" y="301"/>
                    <a:pt x="801" y="401"/>
                  </a:cubicBezTo>
                  <a:cubicBezTo>
                    <a:pt x="1268" y="668"/>
                    <a:pt x="1969" y="1001"/>
                    <a:pt x="2736" y="1335"/>
                  </a:cubicBezTo>
                  <a:cubicBezTo>
                    <a:pt x="3503" y="1702"/>
                    <a:pt x="4170" y="2035"/>
                    <a:pt x="4671" y="2235"/>
                  </a:cubicBezTo>
                  <a:lnTo>
                    <a:pt x="5271" y="2502"/>
                  </a:lnTo>
                  <a:cubicBezTo>
                    <a:pt x="5338" y="2536"/>
                    <a:pt x="5438" y="2569"/>
                    <a:pt x="5504" y="2602"/>
                  </a:cubicBezTo>
                  <a:cubicBezTo>
                    <a:pt x="5438" y="2536"/>
                    <a:pt x="5371" y="2502"/>
                    <a:pt x="5304" y="2469"/>
                  </a:cubicBezTo>
                  <a:cubicBezTo>
                    <a:pt x="5171" y="2402"/>
                    <a:pt x="4971" y="2302"/>
                    <a:pt x="4704" y="2169"/>
                  </a:cubicBezTo>
                  <a:cubicBezTo>
                    <a:pt x="4237" y="1935"/>
                    <a:pt x="3536" y="1602"/>
                    <a:pt x="2769" y="1235"/>
                  </a:cubicBezTo>
                  <a:cubicBezTo>
                    <a:pt x="2035" y="868"/>
                    <a:pt x="1335" y="568"/>
                    <a:pt x="834" y="334"/>
                  </a:cubicBezTo>
                  <a:lnTo>
                    <a:pt x="234" y="67"/>
                  </a:lnTo>
                  <a:cubicBezTo>
                    <a:pt x="167" y="34"/>
                    <a:pt x="67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7" name="Google Shape;1683;g19b32c0fc37_0_42"/>
            <p:cNvSpPr/>
            <p:nvPr/>
          </p:nvSpPr>
          <p:spPr>
            <a:xfrm>
              <a:off x="2170050" y="4774700"/>
              <a:ext cx="176825" cy="81750"/>
            </a:xfrm>
            <a:custGeom>
              <a:avLst/>
              <a:ahLst/>
              <a:rect l="l" t="t" r="r" b="b"/>
              <a:pathLst>
                <a:path w="7073" h="3270" extrusionOk="0">
                  <a:moveTo>
                    <a:pt x="1" y="0"/>
                  </a:moveTo>
                  <a:lnTo>
                    <a:pt x="1" y="0"/>
                  </a:lnTo>
                  <a:cubicBezTo>
                    <a:pt x="101" y="67"/>
                    <a:pt x="167" y="100"/>
                    <a:pt x="268" y="167"/>
                  </a:cubicBezTo>
                  <a:lnTo>
                    <a:pt x="1035" y="534"/>
                  </a:lnTo>
                  <a:cubicBezTo>
                    <a:pt x="1669" y="834"/>
                    <a:pt x="2569" y="1234"/>
                    <a:pt x="3537" y="1701"/>
                  </a:cubicBezTo>
                  <a:cubicBezTo>
                    <a:pt x="4504" y="2135"/>
                    <a:pt x="5371" y="2535"/>
                    <a:pt x="6038" y="2836"/>
                  </a:cubicBezTo>
                  <a:lnTo>
                    <a:pt x="6806" y="3169"/>
                  </a:lnTo>
                  <a:cubicBezTo>
                    <a:pt x="6872" y="3203"/>
                    <a:pt x="6972" y="3236"/>
                    <a:pt x="7072" y="3269"/>
                  </a:cubicBezTo>
                  <a:cubicBezTo>
                    <a:pt x="7006" y="3203"/>
                    <a:pt x="6906" y="3169"/>
                    <a:pt x="6806" y="3102"/>
                  </a:cubicBezTo>
                  <a:lnTo>
                    <a:pt x="6072" y="2736"/>
                  </a:lnTo>
                  <a:cubicBezTo>
                    <a:pt x="5438" y="2435"/>
                    <a:pt x="4537" y="2035"/>
                    <a:pt x="3570" y="1568"/>
                  </a:cubicBezTo>
                  <a:cubicBezTo>
                    <a:pt x="2603" y="1134"/>
                    <a:pt x="1702" y="734"/>
                    <a:pt x="1068" y="434"/>
                  </a:cubicBezTo>
                  <a:lnTo>
                    <a:pt x="301" y="100"/>
                  </a:lnTo>
                  <a:cubicBezTo>
                    <a:pt x="201" y="67"/>
                    <a:pt x="101" y="34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8" name="Google Shape;1684;g19b32c0fc37_0_42"/>
            <p:cNvSpPr/>
            <p:nvPr/>
          </p:nvSpPr>
          <p:spPr>
            <a:xfrm>
              <a:off x="2343500" y="4723000"/>
              <a:ext cx="163475" cy="130100"/>
            </a:xfrm>
            <a:custGeom>
              <a:avLst/>
              <a:ahLst/>
              <a:rect l="l" t="t" r="r" b="b"/>
              <a:pathLst>
                <a:path w="6539" h="5204" extrusionOk="0">
                  <a:moveTo>
                    <a:pt x="6539" y="0"/>
                  </a:moveTo>
                  <a:lnTo>
                    <a:pt x="6539" y="0"/>
                  </a:lnTo>
                  <a:cubicBezTo>
                    <a:pt x="6439" y="67"/>
                    <a:pt x="6372" y="134"/>
                    <a:pt x="6305" y="200"/>
                  </a:cubicBezTo>
                  <a:lnTo>
                    <a:pt x="5605" y="767"/>
                  </a:lnTo>
                  <a:cubicBezTo>
                    <a:pt x="5038" y="1268"/>
                    <a:pt x="4237" y="1935"/>
                    <a:pt x="3337" y="2669"/>
                  </a:cubicBezTo>
                  <a:cubicBezTo>
                    <a:pt x="2436" y="3369"/>
                    <a:pt x="1602" y="4003"/>
                    <a:pt x="1002" y="4470"/>
                  </a:cubicBezTo>
                  <a:lnTo>
                    <a:pt x="268" y="5004"/>
                  </a:lnTo>
                  <a:cubicBezTo>
                    <a:pt x="168" y="5070"/>
                    <a:pt x="101" y="5137"/>
                    <a:pt x="1" y="5204"/>
                  </a:cubicBezTo>
                  <a:cubicBezTo>
                    <a:pt x="101" y="5170"/>
                    <a:pt x="201" y="5104"/>
                    <a:pt x="301" y="5037"/>
                  </a:cubicBezTo>
                  <a:cubicBezTo>
                    <a:pt x="468" y="4937"/>
                    <a:pt x="735" y="4737"/>
                    <a:pt x="1035" y="4537"/>
                  </a:cubicBezTo>
                  <a:cubicBezTo>
                    <a:pt x="1669" y="4103"/>
                    <a:pt x="2503" y="3469"/>
                    <a:pt x="3403" y="2769"/>
                  </a:cubicBezTo>
                  <a:cubicBezTo>
                    <a:pt x="4304" y="2035"/>
                    <a:pt x="5105" y="1368"/>
                    <a:pt x="5672" y="834"/>
                  </a:cubicBezTo>
                  <a:cubicBezTo>
                    <a:pt x="5939" y="601"/>
                    <a:pt x="6172" y="400"/>
                    <a:pt x="6305" y="234"/>
                  </a:cubicBezTo>
                  <a:cubicBezTo>
                    <a:pt x="6406" y="167"/>
                    <a:pt x="6472" y="100"/>
                    <a:pt x="653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59" name="Google Shape;1685;g19b32c0fc37_0_42"/>
            <p:cNvSpPr/>
            <p:nvPr/>
          </p:nvSpPr>
          <p:spPr>
            <a:xfrm>
              <a:off x="2808000" y="3352000"/>
              <a:ext cx="1977275" cy="1677900"/>
            </a:xfrm>
            <a:custGeom>
              <a:avLst/>
              <a:ahLst/>
              <a:rect l="l" t="t" r="r" b="b"/>
              <a:pathLst>
                <a:path w="79091" h="67116" extrusionOk="0">
                  <a:moveTo>
                    <a:pt x="38862" y="1"/>
                  </a:moveTo>
                  <a:cubicBezTo>
                    <a:pt x="38862" y="1"/>
                    <a:pt x="38729" y="21716"/>
                    <a:pt x="34692" y="40096"/>
                  </a:cubicBezTo>
                  <a:cubicBezTo>
                    <a:pt x="34259" y="41931"/>
                    <a:pt x="32958" y="43465"/>
                    <a:pt x="31223" y="44166"/>
                  </a:cubicBezTo>
                  <a:cubicBezTo>
                    <a:pt x="27254" y="45834"/>
                    <a:pt x="23985" y="48769"/>
                    <a:pt x="21917" y="52538"/>
                  </a:cubicBezTo>
                  <a:cubicBezTo>
                    <a:pt x="20863" y="54412"/>
                    <a:pt x="18884" y="55541"/>
                    <a:pt x="16791" y="55541"/>
                  </a:cubicBezTo>
                  <a:cubicBezTo>
                    <a:pt x="16500" y="55541"/>
                    <a:pt x="16206" y="55519"/>
                    <a:pt x="15912" y="55474"/>
                  </a:cubicBezTo>
                  <a:cubicBezTo>
                    <a:pt x="15257" y="55384"/>
                    <a:pt x="14606" y="55341"/>
                    <a:pt x="13963" y="55341"/>
                  </a:cubicBezTo>
                  <a:cubicBezTo>
                    <a:pt x="7166" y="55341"/>
                    <a:pt x="1189" y="60196"/>
                    <a:pt x="1" y="67082"/>
                  </a:cubicBezTo>
                  <a:lnTo>
                    <a:pt x="79091" y="67116"/>
                  </a:lnTo>
                  <a:cubicBezTo>
                    <a:pt x="78090" y="62012"/>
                    <a:pt x="74721" y="57709"/>
                    <a:pt x="70018" y="55507"/>
                  </a:cubicBezTo>
                  <a:cubicBezTo>
                    <a:pt x="68283" y="54707"/>
                    <a:pt x="66382" y="54206"/>
                    <a:pt x="64480" y="54106"/>
                  </a:cubicBezTo>
                  <a:cubicBezTo>
                    <a:pt x="59076" y="53706"/>
                    <a:pt x="54006" y="51271"/>
                    <a:pt x="49970" y="47635"/>
                  </a:cubicBezTo>
                  <a:cubicBezTo>
                    <a:pt x="49770" y="47468"/>
                    <a:pt x="49636" y="47335"/>
                    <a:pt x="49470" y="47201"/>
                  </a:cubicBezTo>
                  <a:cubicBezTo>
                    <a:pt x="46868" y="45033"/>
                    <a:pt x="44166" y="41631"/>
                    <a:pt x="43632" y="38295"/>
                  </a:cubicBezTo>
                  <a:cubicBezTo>
                    <a:pt x="41531" y="25953"/>
                    <a:pt x="39996" y="8941"/>
                    <a:pt x="40096" y="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0" name="Google Shape;1686;g19b32c0fc37_0_42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1" name="Google Shape;1687;g19b32c0fc37_0_42"/>
            <p:cNvSpPr/>
            <p:nvPr/>
          </p:nvSpPr>
          <p:spPr>
            <a:xfrm>
              <a:off x="3024825" y="1528200"/>
              <a:ext cx="418675" cy="1627025"/>
            </a:xfrm>
            <a:custGeom>
              <a:avLst/>
              <a:ahLst/>
              <a:rect l="l" t="t" r="r" b="b"/>
              <a:pathLst>
                <a:path w="16747" h="65081" extrusionOk="0">
                  <a:moveTo>
                    <a:pt x="8340" y="1"/>
                  </a:moveTo>
                  <a:cubicBezTo>
                    <a:pt x="3737" y="1"/>
                    <a:pt x="1" y="3737"/>
                    <a:pt x="1" y="8340"/>
                  </a:cubicBezTo>
                  <a:lnTo>
                    <a:pt x="1" y="65081"/>
                  </a:lnTo>
                  <a:lnTo>
                    <a:pt x="16746" y="65081"/>
                  </a:lnTo>
                  <a:lnTo>
                    <a:pt x="16679" y="8340"/>
                  </a:lnTo>
                  <a:cubicBezTo>
                    <a:pt x="16679" y="373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2" name="Google Shape;1688;g19b32c0fc37_0_42"/>
            <p:cNvSpPr/>
            <p:nvPr/>
          </p:nvSpPr>
          <p:spPr>
            <a:xfrm>
              <a:off x="3026500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8"/>
                    <a:pt x="0" y="134"/>
                  </a:cubicBezTo>
                  <a:cubicBezTo>
                    <a:pt x="0" y="168"/>
                    <a:pt x="3736" y="234"/>
                    <a:pt x="8340" y="234"/>
                  </a:cubicBezTo>
                  <a:cubicBezTo>
                    <a:pt x="12943" y="234"/>
                    <a:pt x="16679" y="168"/>
                    <a:pt x="16679" y="134"/>
                  </a:cubicBezTo>
                  <a:cubicBezTo>
                    <a:pt x="16679" y="68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3" name="Google Shape;1689;g19b32c0fc37_0_42"/>
            <p:cNvSpPr/>
            <p:nvPr/>
          </p:nvSpPr>
          <p:spPr>
            <a:xfrm>
              <a:off x="3026500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36" y="0"/>
                    <a:pt x="0" y="34"/>
                    <a:pt x="0" y="100"/>
                  </a:cubicBezTo>
                  <a:cubicBezTo>
                    <a:pt x="0" y="167"/>
                    <a:pt x="3736" y="200"/>
                    <a:pt x="8340" y="200"/>
                  </a:cubicBezTo>
                  <a:cubicBezTo>
                    <a:pt x="12943" y="200"/>
                    <a:pt x="16679" y="167"/>
                    <a:pt x="16679" y="100"/>
                  </a:cubicBezTo>
                  <a:cubicBezTo>
                    <a:pt x="16679" y="34"/>
                    <a:pt x="12910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4" name="Google Shape;1690;g19b32c0fc37_0_42"/>
            <p:cNvSpPr/>
            <p:nvPr/>
          </p:nvSpPr>
          <p:spPr>
            <a:xfrm>
              <a:off x="3324200" y="1714175"/>
              <a:ext cx="5875" cy="361950"/>
            </a:xfrm>
            <a:custGeom>
              <a:avLst/>
              <a:ahLst/>
              <a:rect l="l" t="t" r="r" b="b"/>
              <a:pathLst>
                <a:path w="235" h="14478" extrusionOk="0">
                  <a:moveTo>
                    <a:pt x="134" y="0"/>
                  </a:moveTo>
                  <a:cubicBezTo>
                    <a:pt x="68" y="0"/>
                    <a:pt x="1" y="3236"/>
                    <a:pt x="1" y="7239"/>
                  </a:cubicBezTo>
                  <a:cubicBezTo>
                    <a:pt x="1" y="11242"/>
                    <a:pt x="68" y="14477"/>
                    <a:pt x="134" y="14477"/>
                  </a:cubicBezTo>
                  <a:cubicBezTo>
                    <a:pt x="201" y="14477"/>
                    <a:pt x="234" y="11242"/>
                    <a:pt x="234" y="7239"/>
                  </a:cubicBezTo>
                  <a:cubicBezTo>
                    <a:pt x="234" y="3236"/>
                    <a:pt x="168" y="0"/>
                    <a:pt x="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5" name="Google Shape;1691;g19b32c0fc37_0_42"/>
            <p:cNvSpPr/>
            <p:nvPr/>
          </p:nvSpPr>
          <p:spPr>
            <a:xfrm>
              <a:off x="3244150" y="1804225"/>
              <a:ext cx="34225" cy="29500"/>
            </a:xfrm>
            <a:custGeom>
              <a:avLst/>
              <a:ahLst/>
              <a:rect l="l" t="t" r="r" b="b"/>
              <a:pathLst>
                <a:path w="1369" h="1180" extrusionOk="0">
                  <a:moveTo>
                    <a:pt x="768" y="1"/>
                  </a:moveTo>
                  <a:cubicBezTo>
                    <a:pt x="268" y="1"/>
                    <a:pt x="1" y="635"/>
                    <a:pt x="368" y="1002"/>
                  </a:cubicBezTo>
                  <a:cubicBezTo>
                    <a:pt x="490" y="1124"/>
                    <a:pt x="642" y="1179"/>
                    <a:pt x="790" y="1179"/>
                  </a:cubicBezTo>
                  <a:cubicBezTo>
                    <a:pt x="1087" y="1179"/>
                    <a:pt x="1368" y="957"/>
                    <a:pt x="1368" y="601"/>
                  </a:cubicBezTo>
                  <a:cubicBezTo>
                    <a:pt x="1368" y="268"/>
                    <a:pt x="1101" y="1"/>
                    <a:pt x="7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6" name="Google Shape;1692;g19b32c0fc37_0_42"/>
            <p:cNvSpPr/>
            <p:nvPr/>
          </p:nvSpPr>
          <p:spPr>
            <a:xfrm>
              <a:off x="3244150" y="1929325"/>
              <a:ext cx="34225" cy="29850"/>
            </a:xfrm>
            <a:custGeom>
              <a:avLst/>
              <a:ahLst/>
              <a:rect l="l" t="t" r="r" b="b"/>
              <a:pathLst>
                <a:path w="1369" h="1194" extrusionOk="0">
                  <a:moveTo>
                    <a:pt x="768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90" y="1135"/>
                    <a:pt x="642" y="1194"/>
                    <a:pt x="790" y="1194"/>
                  </a:cubicBezTo>
                  <a:cubicBezTo>
                    <a:pt x="1087" y="1194"/>
                    <a:pt x="1368" y="957"/>
                    <a:pt x="1368" y="601"/>
                  </a:cubicBezTo>
                  <a:cubicBezTo>
                    <a:pt x="1368" y="267"/>
                    <a:pt x="1101" y="0"/>
                    <a:pt x="7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7" name="Google Shape;1693;g19b32c0fc37_0_42"/>
            <p:cNvSpPr/>
            <p:nvPr/>
          </p:nvSpPr>
          <p:spPr>
            <a:xfrm>
              <a:off x="3026500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36" y="1"/>
                    <a:pt x="0" y="67"/>
                    <a:pt x="0" y="134"/>
                  </a:cubicBezTo>
                  <a:cubicBezTo>
                    <a:pt x="0" y="167"/>
                    <a:pt x="3736" y="234"/>
                    <a:pt x="8340" y="234"/>
                  </a:cubicBezTo>
                  <a:cubicBezTo>
                    <a:pt x="12943" y="234"/>
                    <a:pt x="16679" y="167"/>
                    <a:pt x="16679" y="134"/>
                  </a:cubicBezTo>
                  <a:cubicBezTo>
                    <a:pt x="16679" y="34"/>
                    <a:pt x="12910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8" name="Google Shape;1694;g19b32c0fc37_0_42"/>
            <p:cNvSpPr/>
            <p:nvPr/>
          </p:nvSpPr>
          <p:spPr>
            <a:xfrm>
              <a:off x="3324200" y="2450525"/>
              <a:ext cx="5875" cy="362800"/>
            </a:xfrm>
            <a:custGeom>
              <a:avLst/>
              <a:ahLst/>
              <a:rect l="l" t="t" r="r" b="b"/>
              <a:pathLst>
                <a:path w="235" h="14512" extrusionOk="0">
                  <a:moveTo>
                    <a:pt x="134" y="1"/>
                  </a:moveTo>
                  <a:cubicBezTo>
                    <a:pt x="68" y="1"/>
                    <a:pt x="1" y="3270"/>
                    <a:pt x="1" y="7239"/>
                  </a:cubicBezTo>
                  <a:cubicBezTo>
                    <a:pt x="1" y="11242"/>
                    <a:pt x="68" y="14511"/>
                    <a:pt x="134" y="14511"/>
                  </a:cubicBezTo>
                  <a:cubicBezTo>
                    <a:pt x="201" y="14511"/>
                    <a:pt x="234" y="11242"/>
                    <a:pt x="234" y="7239"/>
                  </a:cubicBezTo>
                  <a:cubicBezTo>
                    <a:pt x="234" y="3236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69" name="Google Shape;1695;g19b32c0fc37_0_42"/>
            <p:cNvSpPr/>
            <p:nvPr/>
          </p:nvSpPr>
          <p:spPr>
            <a:xfrm>
              <a:off x="3249150" y="2541425"/>
              <a:ext cx="29225" cy="29225"/>
            </a:xfrm>
            <a:custGeom>
              <a:avLst/>
              <a:ahLst/>
              <a:rect l="l" t="t" r="r" b="b"/>
              <a:pathLst>
                <a:path w="1169" h="1169" extrusionOk="0">
                  <a:moveTo>
                    <a:pt x="568" y="1"/>
                  </a:moveTo>
                  <a:cubicBezTo>
                    <a:pt x="268" y="1"/>
                    <a:pt x="1" y="234"/>
                    <a:pt x="1" y="568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56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0" name="Google Shape;1696;g19b32c0fc37_0_42"/>
            <p:cNvSpPr/>
            <p:nvPr/>
          </p:nvSpPr>
          <p:spPr>
            <a:xfrm>
              <a:off x="3249150" y="2666525"/>
              <a:ext cx="29225" cy="29200"/>
            </a:xfrm>
            <a:custGeom>
              <a:avLst/>
              <a:ahLst/>
              <a:rect l="l" t="t" r="r" b="b"/>
              <a:pathLst>
                <a:path w="1169" h="1168" extrusionOk="0">
                  <a:moveTo>
                    <a:pt x="568" y="0"/>
                  </a:moveTo>
                  <a:cubicBezTo>
                    <a:pt x="268" y="0"/>
                    <a:pt x="1" y="267"/>
                    <a:pt x="1" y="567"/>
                  </a:cubicBezTo>
                  <a:cubicBezTo>
                    <a:pt x="1" y="901"/>
                    <a:pt x="268" y="1168"/>
                    <a:pt x="568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1" name="Google Shape;1697;g19b32c0fc37_0_42"/>
            <p:cNvSpPr/>
            <p:nvPr/>
          </p:nvSpPr>
          <p:spPr>
            <a:xfrm>
              <a:off x="3026500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0" y="34"/>
                    <a:pt x="0" y="101"/>
                  </a:cubicBezTo>
                  <a:cubicBezTo>
                    <a:pt x="0" y="134"/>
                    <a:pt x="3736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2" name="Google Shape;1698;g19b32c0fc37_0_42"/>
            <p:cNvSpPr/>
            <p:nvPr/>
          </p:nvSpPr>
          <p:spPr>
            <a:xfrm>
              <a:off x="31399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3" y="1"/>
                    <a:pt x="0" y="3236"/>
                    <a:pt x="0" y="7239"/>
                  </a:cubicBezTo>
                  <a:cubicBezTo>
                    <a:pt x="0" y="11242"/>
                    <a:pt x="33" y="14478"/>
                    <a:pt x="100" y="14478"/>
                  </a:cubicBezTo>
                  <a:cubicBezTo>
                    <a:pt x="167" y="14478"/>
                    <a:pt x="200" y="11242"/>
                    <a:pt x="200" y="7239"/>
                  </a:cubicBezTo>
                  <a:cubicBezTo>
                    <a:pt x="200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3" name="Google Shape;1699;g19b32c0fc37_0_42"/>
            <p:cNvSpPr/>
            <p:nvPr/>
          </p:nvSpPr>
          <p:spPr>
            <a:xfrm>
              <a:off x="3191625" y="2176175"/>
              <a:ext cx="34200" cy="29300"/>
            </a:xfrm>
            <a:custGeom>
              <a:avLst/>
              <a:ahLst/>
              <a:rect l="l" t="t" r="r" b="b"/>
              <a:pathLst>
                <a:path w="1368" h="1172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19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4" name="Google Shape;1700;g19b32c0fc37_0_42"/>
            <p:cNvSpPr/>
            <p:nvPr/>
          </p:nvSpPr>
          <p:spPr>
            <a:xfrm>
              <a:off x="3191625" y="2301250"/>
              <a:ext cx="34200" cy="29325"/>
            </a:xfrm>
            <a:custGeom>
              <a:avLst/>
              <a:ahLst/>
              <a:rect l="l" t="t" r="r" b="b"/>
              <a:pathLst>
                <a:path w="1368" h="1173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40"/>
                    <a:pt x="291" y="1172"/>
                    <a:pt x="593" y="1172"/>
                  </a:cubicBezTo>
                  <a:cubicBezTo>
                    <a:pt x="737" y="1172"/>
                    <a:pt x="883" y="1120"/>
                    <a:pt x="1001" y="1001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5" name="Google Shape;1701;g19b32c0fc37_0_42"/>
            <p:cNvSpPr/>
            <p:nvPr/>
          </p:nvSpPr>
          <p:spPr>
            <a:xfrm>
              <a:off x="3052350" y="1572400"/>
              <a:ext cx="99275" cy="177650"/>
            </a:xfrm>
            <a:custGeom>
              <a:avLst/>
              <a:ahLst/>
              <a:rect l="l" t="t" r="r" b="b"/>
              <a:pathLst>
                <a:path w="3971" h="7106" extrusionOk="0">
                  <a:moveTo>
                    <a:pt x="3937" y="1"/>
                  </a:moveTo>
                  <a:cubicBezTo>
                    <a:pt x="3837" y="1"/>
                    <a:pt x="3737" y="67"/>
                    <a:pt x="3636" y="134"/>
                  </a:cubicBezTo>
                  <a:cubicBezTo>
                    <a:pt x="3536" y="167"/>
                    <a:pt x="3403" y="234"/>
                    <a:pt x="3303" y="334"/>
                  </a:cubicBezTo>
                  <a:cubicBezTo>
                    <a:pt x="3169" y="401"/>
                    <a:pt x="3036" y="501"/>
                    <a:pt x="2903" y="634"/>
                  </a:cubicBezTo>
                  <a:cubicBezTo>
                    <a:pt x="2536" y="901"/>
                    <a:pt x="2235" y="1235"/>
                    <a:pt x="1935" y="1602"/>
                  </a:cubicBezTo>
                  <a:cubicBezTo>
                    <a:pt x="1602" y="2035"/>
                    <a:pt x="1301" y="2502"/>
                    <a:pt x="1035" y="3003"/>
                  </a:cubicBezTo>
                  <a:cubicBezTo>
                    <a:pt x="601" y="3903"/>
                    <a:pt x="301" y="4871"/>
                    <a:pt x="134" y="5838"/>
                  </a:cubicBezTo>
                  <a:cubicBezTo>
                    <a:pt x="67" y="6138"/>
                    <a:pt x="34" y="6438"/>
                    <a:pt x="1" y="6739"/>
                  </a:cubicBezTo>
                  <a:cubicBezTo>
                    <a:pt x="1" y="6872"/>
                    <a:pt x="1" y="6972"/>
                    <a:pt x="1" y="7106"/>
                  </a:cubicBezTo>
                  <a:cubicBezTo>
                    <a:pt x="67" y="7106"/>
                    <a:pt x="101" y="6605"/>
                    <a:pt x="267" y="5871"/>
                  </a:cubicBezTo>
                  <a:cubicBezTo>
                    <a:pt x="468" y="4904"/>
                    <a:pt x="801" y="3970"/>
                    <a:pt x="1235" y="3103"/>
                  </a:cubicBezTo>
                  <a:cubicBezTo>
                    <a:pt x="1468" y="2602"/>
                    <a:pt x="1768" y="2135"/>
                    <a:pt x="2102" y="1702"/>
                  </a:cubicBezTo>
                  <a:cubicBezTo>
                    <a:pt x="2369" y="1368"/>
                    <a:pt x="2669" y="1035"/>
                    <a:pt x="3003" y="734"/>
                  </a:cubicBezTo>
                  <a:cubicBezTo>
                    <a:pt x="3570" y="234"/>
                    <a:pt x="3970" y="34"/>
                    <a:pt x="3937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6" name="Google Shape;1702;g19b32c0fc37_0_42"/>
            <p:cNvSpPr/>
            <p:nvPr/>
          </p:nvSpPr>
          <p:spPr>
            <a:xfrm>
              <a:off x="3191625" y="1552800"/>
              <a:ext cx="30050" cy="7525"/>
            </a:xfrm>
            <a:custGeom>
              <a:avLst/>
              <a:ahLst/>
              <a:rect l="l" t="t" r="r" b="b"/>
              <a:pathLst>
                <a:path w="1202" h="301" extrusionOk="0">
                  <a:moveTo>
                    <a:pt x="1026" y="1"/>
                  </a:moveTo>
                  <a:cubicBezTo>
                    <a:pt x="917" y="1"/>
                    <a:pt x="767" y="17"/>
                    <a:pt x="601" y="51"/>
                  </a:cubicBezTo>
                  <a:cubicBezTo>
                    <a:pt x="267" y="117"/>
                    <a:pt x="0" y="217"/>
                    <a:pt x="0" y="251"/>
                  </a:cubicBezTo>
                  <a:cubicBezTo>
                    <a:pt x="17" y="284"/>
                    <a:pt x="92" y="301"/>
                    <a:pt x="204" y="301"/>
                  </a:cubicBezTo>
                  <a:cubicBezTo>
                    <a:pt x="317" y="301"/>
                    <a:pt x="467" y="284"/>
                    <a:pt x="634" y="251"/>
                  </a:cubicBezTo>
                  <a:cubicBezTo>
                    <a:pt x="968" y="217"/>
                    <a:pt x="1201" y="117"/>
                    <a:pt x="1201" y="51"/>
                  </a:cubicBezTo>
                  <a:cubicBezTo>
                    <a:pt x="1201" y="17"/>
                    <a:pt x="1134" y="1"/>
                    <a:pt x="1026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7" name="Google Shape;1703;g19b32c0fc37_0_42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8" name="Google Shape;1704;g19b32c0fc37_0_42"/>
            <p:cNvSpPr/>
            <p:nvPr/>
          </p:nvSpPr>
          <p:spPr>
            <a:xfrm>
              <a:off x="4114775" y="1528200"/>
              <a:ext cx="418650" cy="1627025"/>
            </a:xfrm>
            <a:custGeom>
              <a:avLst/>
              <a:ahLst/>
              <a:rect l="l" t="t" r="r" b="b"/>
              <a:pathLst>
                <a:path w="16746" h="65081" extrusionOk="0">
                  <a:moveTo>
                    <a:pt x="8434" y="0"/>
                  </a:moveTo>
                  <a:cubicBezTo>
                    <a:pt x="8414" y="0"/>
                    <a:pt x="8394" y="0"/>
                    <a:pt x="8373" y="1"/>
                  </a:cubicBezTo>
                  <a:cubicBezTo>
                    <a:pt x="3770" y="1"/>
                    <a:pt x="34" y="3737"/>
                    <a:pt x="34" y="8340"/>
                  </a:cubicBezTo>
                  <a:lnTo>
                    <a:pt x="1" y="65081"/>
                  </a:lnTo>
                  <a:lnTo>
                    <a:pt x="16712" y="65081"/>
                  </a:lnTo>
                  <a:lnTo>
                    <a:pt x="16712" y="8340"/>
                  </a:lnTo>
                  <a:cubicBezTo>
                    <a:pt x="16746" y="3724"/>
                    <a:pt x="13010" y="0"/>
                    <a:pt x="843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79" name="Google Shape;1705;g19b32c0fc37_0_42"/>
            <p:cNvSpPr/>
            <p:nvPr/>
          </p:nvSpPr>
          <p:spPr>
            <a:xfrm>
              <a:off x="4114775" y="1710825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8"/>
                    <a:pt x="1" y="134"/>
                  </a:cubicBezTo>
                  <a:cubicBezTo>
                    <a:pt x="1" y="168"/>
                    <a:pt x="3737" y="234"/>
                    <a:pt x="8340" y="234"/>
                  </a:cubicBezTo>
                  <a:cubicBezTo>
                    <a:pt x="12976" y="234"/>
                    <a:pt x="16679" y="168"/>
                    <a:pt x="16679" y="134"/>
                  </a:cubicBezTo>
                  <a:cubicBezTo>
                    <a:pt x="16679" y="68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0" name="Google Shape;1706;g19b32c0fc37_0_42"/>
            <p:cNvSpPr/>
            <p:nvPr/>
          </p:nvSpPr>
          <p:spPr>
            <a:xfrm>
              <a:off x="4114775" y="2073600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0"/>
                  </a:moveTo>
                  <a:cubicBezTo>
                    <a:pt x="3770" y="0"/>
                    <a:pt x="1" y="34"/>
                    <a:pt x="1" y="100"/>
                  </a:cubicBezTo>
                  <a:cubicBezTo>
                    <a:pt x="1" y="167"/>
                    <a:pt x="3737" y="200"/>
                    <a:pt x="8340" y="200"/>
                  </a:cubicBezTo>
                  <a:cubicBezTo>
                    <a:pt x="12976" y="200"/>
                    <a:pt x="16679" y="167"/>
                    <a:pt x="16679" y="100"/>
                  </a:cubicBezTo>
                  <a:cubicBezTo>
                    <a:pt x="16679" y="34"/>
                    <a:pt x="12943" y="0"/>
                    <a:pt x="83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1" name="Google Shape;1707;g19b32c0fc37_0_42"/>
            <p:cNvSpPr/>
            <p:nvPr/>
          </p:nvSpPr>
          <p:spPr>
            <a:xfrm>
              <a:off x="4228200" y="1714175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0"/>
                  </a:moveTo>
                  <a:cubicBezTo>
                    <a:pt x="67" y="0"/>
                    <a:pt x="0" y="3236"/>
                    <a:pt x="0" y="7239"/>
                  </a:cubicBezTo>
                  <a:cubicBezTo>
                    <a:pt x="0" y="11242"/>
                    <a:pt x="67" y="14477"/>
                    <a:pt x="100" y="14477"/>
                  </a:cubicBezTo>
                  <a:cubicBezTo>
                    <a:pt x="167" y="14477"/>
                    <a:pt x="200" y="11242"/>
                    <a:pt x="200" y="7239"/>
                  </a:cubicBezTo>
                  <a:cubicBezTo>
                    <a:pt x="200" y="3236"/>
                    <a:pt x="167" y="0"/>
                    <a:pt x="10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2" name="Google Shape;1708;g19b32c0fc37_0_42"/>
            <p:cNvSpPr/>
            <p:nvPr/>
          </p:nvSpPr>
          <p:spPr>
            <a:xfrm>
              <a:off x="4279900" y="1804225"/>
              <a:ext cx="34200" cy="29500"/>
            </a:xfrm>
            <a:custGeom>
              <a:avLst/>
              <a:ahLst/>
              <a:rect l="l" t="t" r="r" b="b"/>
              <a:pathLst>
                <a:path w="1368" h="1180" extrusionOk="0">
                  <a:moveTo>
                    <a:pt x="601" y="1"/>
                  </a:moveTo>
                  <a:cubicBezTo>
                    <a:pt x="267" y="1"/>
                    <a:pt x="0" y="268"/>
                    <a:pt x="0" y="601"/>
                  </a:cubicBezTo>
                  <a:cubicBezTo>
                    <a:pt x="0" y="957"/>
                    <a:pt x="282" y="1179"/>
                    <a:pt x="578" y="1179"/>
                  </a:cubicBezTo>
                  <a:cubicBezTo>
                    <a:pt x="727" y="1179"/>
                    <a:pt x="879" y="1124"/>
                    <a:pt x="1001" y="1002"/>
                  </a:cubicBezTo>
                  <a:cubicBezTo>
                    <a:pt x="1368" y="635"/>
                    <a:pt x="11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3" name="Google Shape;1709;g19b32c0fc37_0_42"/>
            <p:cNvSpPr/>
            <p:nvPr/>
          </p:nvSpPr>
          <p:spPr>
            <a:xfrm>
              <a:off x="4279900" y="1929325"/>
              <a:ext cx="34200" cy="29850"/>
            </a:xfrm>
            <a:custGeom>
              <a:avLst/>
              <a:ahLst/>
              <a:rect l="l" t="t" r="r" b="b"/>
              <a:pathLst>
                <a:path w="1368" h="1194" extrusionOk="0">
                  <a:moveTo>
                    <a:pt x="601" y="0"/>
                  </a:moveTo>
                  <a:cubicBezTo>
                    <a:pt x="267" y="0"/>
                    <a:pt x="0" y="267"/>
                    <a:pt x="0" y="601"/>
                  </a:cubicBezTo>
                  <a:cubicBezTo>
                    <a:pt x="0" y="957"/>
                    <a:pt x="282" y="1194"/>
                    <a:pt x="578" y="1194"/>
                  </a:cubicBezTo>
                  <a:cubicBezTo>
                    <a:pt x="727" y="1194"/>
                    <a:pt x="879" y="1135"/>
                    <a:pt x="1001" y="1001"/>
                  </a:cubicBezTo>
                  <a:cubicBezTo>
                    <a:pt x="1368" y="634"/>
                    <a:pt x="11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4" name="Google Shape;1710;g19b32c0fc37_0_42"/>
            <p:cNvSpPr/>
            <p:nvPr/>
          </p:nvSpPr>
          <p:spPr>
            <a:xfrm>
              <a:off x="4114775" y="2809950"/>
              <a:ext cx="417000" cy="5875"/>
            </a:xfrm>
            <a:custGeom>
              <a:avLst/>
              <a:ahLst/>
              <a:rect l="l" t="t" r="r" b="b"/>
              <a:pathLst>
                <a:path w="16680" h="235" extrusionOk="0">
                  <a:moveTo>
                    <a:pt x="8340" y="1"/>
                  </a:moveTo>
                  <a:cubicBezTo>
                    <a:pt x="3770" y="1"/>
                    <a:pt x="1" y="67"/>
                    <a:pt x="1" y="134"/>
                  </a:cubicBezTo>
                  <a:cubicBezTo>
                    <a:pt x="1" y="167"/>
                    <a:pt x="3737" y="234"/>
                    <a:pt x="8340" y="234"/>
                  </a:cubicBezTo>
                  <a:cubicBezTo>
                    <a:pt x="12976" y="234"/>
                    <a:pt x="16679" y="167"/>
                    <a:pt x="16679" y="134"/>
                  </a:cubicBezTo>
                  <a:cubicBezTo>
                    <a:pt x="16679" y="67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5" name="Google Shape;1711;g19b32c0fc37_0_42"/>
            <p:cNvSpPr/>
            <p:nvPr/>
          </p:nvSpPr>
          <p:spPr>
            <a:xfrm>
              <a:off x="4228200" y="2450525"/>
              <a:ext cx="5850" cy="362800"/>
            </a:xfrm>
            <a:custGeom>
              <a:avLst/>
              <a:ahLst/>
              <a:rect l="l" t="t" r="r" b="b"/>
              <a:pathLst>
                <a:path w="234" h="14512" extrusionOk="0">
                  <a:moveTo>
                    <a:pt x="100" y="1"/>
                  </a:moveTo>
                  <a:cubicBezTo>
                    <a:pt x="67" y="1"/>
                    <a:pt x="0" y="3270"/>
                    <a:pt x="0" y="7239"/>
                  </a:cubicBezTo>
                  <a:cubicBezTo>
                    <a:pt x="0" y="11242"/>
                    <a:pt x="67" y="14511"/>
                    <a:pt x="100" y="14511"/>
                  </a:cubicBezTo>
                  <a:cubicBezTo>
                    <a:pt x="167" y="14511"/>
                    <a:pt x="234" y="11242"/>
                    <a:pt x="234" y="7239"/>
                  </a:cubicBezTo>
                  <a:cubicBezTo>
                    <a:pt x="234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6" name="Google Shape;1712;g19b32c0fc37_0_42"/>
            <p:cNvSpPr/>
            <p:nvPr/>
          </p:nvSpPr>
          <p:spPr>
            <a:xfrm>
              <a:off x="4279900" y="2541425"/>
              <a:ext cx="29200" cy="29225"/>
            </a:xfrm>
            <a:custGeom>
              <a:avLst/>
              <a:ahLst/>
              <a:rect l="l" t="t" r="r" b="b"/>
              <a:pathLst>
                <a:path w="1168" h="1169" extrusionOk="0">
                  <a:moveTo>
                    <a:pt x="601" y="1"/>
                  </a:moveTo>
                  <a:cubicBezTo>
                    <a:pt x="267" y="1"/>
                    <a:pt x="0" y="234"/>
                    <a:pt x="0" y="568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8"/>
                  </a:cubicBezTo>
                  <a:cubicBezTo>
                    <a:pt x="1168" y="234"/>
                    <a:pt x="901" y="1"/>
                    <a:pt x="6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7" name="Google Shape;1713;g19b32c0fc37_0_42"/>
            <p:cNvSpPr/>
            <p:nvPr/>
          </p:nvSpPr>
          <p:spPr>
            <a:xfrm>
              <a:off x="4279900" y="2666525"/>
              <a:ext cx="29200" cy="29200"/>
            </a:xfrm>
            <a:custGeom>
              <a:avLst/>
              <a:ahLst/>
              <a:rect l="l" t="t" r="r" b="b"/>
              <a:pathLst>
                <a:path w="1168" h="1168" extrusionOk="0">
                  <a:moveTo>
                    <a:pt x="601" y="0"/>
                  </a:moveTo>
                  <a:cubicBezTo>
                    <a:pt x="267" y="0"/>
                    <a:pt x="0" y="267"/>
                    <a:pt x="0" y="567"/>
                  </a:cubicBezTo>
                  <a:cubicBezTo>
                    <a:pt x="0" y="901"/>
                    <a:pt x="267" y="1168"/>
                    <a:pt x="601" y="1168"/>
                  </a:cubicBezTo>
                  <a:cubicBezTo>
                    <a:pt x="901" y="1168"/>
                    <a:pt x="1168" y="901"/>
                    <a:pt x="1168" y="567"/>
                  </a:cubicBezTo>
                  <a:cubicBezTo>
                    <a:pt x="1168" y="267"/>
                    <a:pt x="901" y="0"/>
                    <a:pt x="6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8" name="Google Shape;1714;g19b32c0fc37_0_42"/>
            <p:cNvSpPr/>
            <p:nvPr/>
          </p:nvSpPr>
          <p:spPr>
            <a:xfrm>
              <a:off x="4114775" y="2445525"/>
              <a:ext cx="417000" cy="5025"/>
            </a:xfrm>
            <a:custGeom>
              <a:avLst/>
              <a:ahLst/>
              <a:rect l="l" t="t" r="r" b="b"/>
              <a:pathLst>
                <a:path w="16680" h="201" extrusionOk="0">
                  <a:moveTo>
                    <a:pt x="8340" y="1"/>
                  </a:moveTo>
                  <a:cubicBezTo>
                    <a:pt x="3770" y="1"/>
                    <a:pt x="1" y="34"/>
                    <a:pt x="1" y="101"/>
                  </a:cubicBezTo>
                  <a:cubicBezTo>
                    <a:pt x="1" y="167"/>
                    <a:pt x="3737" y="201"/>
                    <a:pt x="8340" y="201"/>
                  </a:cubicBezTo>
                  <a:cubicBezTo>
                    <a:pt x="12943" y="201"/>
                    <a:pt x="16679" y="167"/>
                    <a:pt x="16679" y="101"/>
                  </a:cubicBezTo>
                  <a:cubicBezTo>
                    <a:pt x="16679" y="34"/>
                    <a:pt x="12943" y="1"/>
                    <a:pt x="834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89" name="Google Shape;1715;g19b32c0fc37_0_42"/>
            <p:cNvSpPr/>
            <p:nvPr/>
          </p:nvSpPr>
          <p:spPr>
            <a:xfrm>
              <a:off x="4413325" y="2086100"/>
              <a:ext cx="5025" cy="361950"/>
            </a:xfrm>
            <a:custGeom>
              <a:avLst/>
              <a:ahLst/>
              <a:rect l="l" t="t" r="r" b="b"/>
              <a:pathLst>
                <a:path w="201" h="14478" extrusionOk="0">
                  <a:moveTo>
                    <a:pt x="100" y="1"/>
                  </a:moveTo>
                  <a:cubicBezTo>
                    <a:pt x="34" y="1"/>
                    <a:pt x="0" y="3236"/>
                    <a:pt x="0" y="7239"/>
                  </a:cubicBezTo>
                  <a:cubicBezTo>
                    <a:pt x="0" y="11242"/>
                    <a:pt x="34" y="14478"/>
                    <a:pt x="100" y="14478"/>
                  </a:cubicBezTo>
                  <a:cubicBezTo>
                    <a:pt x="167" y="14478"/>
                    <a:pt x="201" y="11242"/>
                    <a:pt x="201" y="7239"/>
                  </a:cubicBezTo>
                  <a:cubicBezTo>
                    <a:pt x="201" y="3236"/>
                    <a:pt x="167" y="1"/>
                    <a:pt x="1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0" name="Google Shape;1716;g19b32c0fc37_0_42"/>
            <p:cNvSpPr/>
            <p:nvPr/>
          </p:nvSpPr>
          <p:spPr>
            <a:xfrm>
              <a:off x="4332425" y="2176175"/>
              <a:ext cx="34225" cy="29300"/>
            </a:xfrm>
            <a:custGeom>
              <a:avLst/>
              <a:ahLst/>
              <a:rect l="l" t="t" r="r" b="b"/>
              <a:pathLst>
                <a:path w="1369" h="1172" extrusionOk="0">
                  <a:moveTo>
                    <a:pt x="801" y="0"/>
                  </a:moveTo>
                  <a:cubicBezTo>
                    <a:pt x="268" y="0"/>
                    <a:pt x="1" y="634"/>
                    <a:pt x="368" y="1001"/>
                  </a:cubicBezTo>
                  <a:cubicBezTo>
                    <a:pt x="486" y="1119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7"/>
                    <a:pt x="1102" y="0"/>
                    <a:pt x="8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1" name="Google Shape;1717;g19b32c0fc37_0_42"/>
            <p:cNvSpPr/>
            <p:nvPr/>
          </p:nvSpPr>
          <p:spPr>
            <a:xfrm>
              <a:off x="4332425" y="2301250"/>
              <a:ext cx="34225" cy="29325"/>
            </a:xfrm>
            <a:custGeom>
              <a:avLst/>
              <a:ahLst/>
              <a:rect l="l" t="t" r="r" b="b"/>
              <a:pathLst>
                <a:path w="1369" h="1173" extrusionOk="0">
                  <a:moveTo>
                    <a:pt x="801" y="1"/>
                  </a:moveTo>
                  <a:cubicBezTo>
                    <a:pt x="268" y="1"/>
                    <a:pt x="1" y="635"/>
                    <a:pt x="368" y="1001"/>
                  </a:cubicBezTo>
                  <a:cubicBezTo>
                    <a:pt x="486" y="1120"/>
                    <a:pt x="632" y="1172"/>
                    <a:pt x="775" y="1172"/>
                  </a:cubicBezTo>
                  <a:cubicBezTo>
                    <a:pt x="1077" y="1172"/>
                    <a:pt x="1368" y="940"/>
                    <a:pt x="1368" y="601"/>
                  </a:cubicBezTo>
                  <a:cubicBezTo>
                    <a:pt x="1368" y="268"/>
                    <a:pt x="1102" y="1"/>
                    <a:pt x="8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2" name="Google Shape;1718;g19b32c0fc37_0_42"/>
            <p:cNvSpPr/>
            <p:nvPr/>
          </p:nvSpPr>
          <p:spPr>
            <a:xfrm>
              <a:off x="4405825" y="1572400"/>
              <a:ext cx="100100" cy="177650"/>
            </a:xfrm>
            <a:custGeom>
              <a:avLst/>
              <a:ahLst/>
              <a:rect l="l" t="t" r="r" b="b"/>
              <a:pathLst>
                <a:path w="4004" h="7106" extrusionOk="0">
                  <a:moveTo>
                    <a:pt x="34" y="1"/>
                  </a:moveTo>
                  <a:cubicBezTo>
                    <a:pt x="0" y="34"/>
                    <a:pt x="434" y="234"/>
                    <a:pt x="1001" y="734"/>
                  </a:cubicBezTo>
                  <a:cubicBezTo>
                    <a:pt x="1334" y="1035"/>
                    <a:pt x="1635" y="1368"/>
                    <a:pt x="1902" y="1702"/>
                  </a:cubicBezTo>
                  <a:cubicBezTo>
                    <a:pt x="2235" y="2135"/>
                    <a:pt x="2502" y="2602"/>
                    <a:pt x="2735" y="3103"/>
                  </a:cubicBezTo>
                  <a:cubicBezTo>
                    <a:pt x="3169" y="3970"/>
                    <a:pt x="3503" y="4904"/>
                    <a:pt x="3703" y="5871"/>
                  </a:cubicBezTo>
                  <a:cubicBezTo>
                    <a:pt x="3870" y="6639"/>
                    <a:pt x="3936" y="7106"/>
                    <a:pt x="3970" y="7106"/>
                  </a:cubicBezTo>
                  <a:cubicBezTo>
                    <a:pt x="4003" y="6972"/>
                    <a:pt x="4003" y="6872"/>
                    <a:pt x="3970" y="6739"/>
                  </a:cubicBezTo>
                  <a:cubicBezTo>
                    <a:pt x="3936" y="6438"/>
                    <a:pt x="3903" y="6138"/>
                    <a:pt x="3870" y="5838"/>
                  </a:cubicBezTo>
                  <a:cubicBezTo>
                    <a:pt x="3703" y="4871"/>
                    <a:pt x="3369" y="3903"/>
                    <a:pt x="2936" y="3003"/>
                  </a:cubicBezTo>
                  <a:cubicBezTo>
                    <a:pt x="2702" y="2502"/>
                    <a:pt x="2402" y="2035"/>
                    <a:pt x="2035" y="1602"/>
                  </a:cubicBezTo>
                  <a:cubicBezTo>
                    <a:pt x="1768" y="1235"/>
                    <a:pt x="1435" y="901"/>
                    <a:pt x="1101" y="634"/>
                  </a:cubicBezTo>
                  <a:cubicBezTo>
                    <a:pt x="968" y="501"/>
                    <a:pt x="801" y="401"/>
                    <a:pt x="667" y="334"/>
                  </a:cubicBezTo>
                  <a:cubicBezTo>
                    <a:pt x="567" y="234"/>
                    <a:pt x="467" y="167"/>
                    <a:pt x="334" y="134"/>
                  </a:cubicBezTo>
                  <a:cubicBezTo>
                    <a:pt x="234" y="67"/>
                    <a:pt x="134" y="1"/>
                    <a:pt x="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3" name="Google Shape;1719;g19b32c0fc37_0_42"/>
            <p:cNvSpPr/>
            <p:nvPr/>
          </p:nvSpPr>
          <p:spPr>
            <a:xfrm>
              <a:off x="4335775" y="1552800"/>
              <a:ext cx="30875" cy="7750"/>
            </a:xfrm>
            <a:custGeom>
              <a:avLst/>
              <a:ahLst/>
              <a:rect l="l" t="t" r="r" b="b"/>
              <a:pathLst>
                <a:path w="1235" h="310" extrusionOk="0">
                  <a:moveTo>
                    <a:pt x="209" y="1"/>
                  </a:moveTo>
                  <a:cubicBezTo>
                    <a:pt x="100" y="1"/>
                    <a:pt x="34" y="17"/>
                    <a:pt x="34" y="51"/>
                  </a:cubicBezTo>
                  <a:cubicBezTo>
                    <a:pt x="0" y="117"/>
                    <a:pt x="267" y="217"/>
                    <a:pt x="601" y="284"/>
                  </a:cubicBezTo>
                  <a:cubicBezTo>
                    <a:pt x="767" y="301"/>
                    <a:pt x="918" y="309"/>
                    <a:pt x="1030" y="309"/>
                  </a:cubicBezTo>
                  <a:cubicBezTo>
                    <a:pt x="1143" y="309"/>
                    <a:pt x="1218" y="301"/>
                    <a:pt x="1234" y="284"/>
                  </a:cubicBezTo>
                  <a:cubicBezTo>
                    <a:pt x="1234" y="217"/>
                    <a:pt x="968" y="117"/>
                    <a:pt x="634" y="51"/>
                  </a:cubicBezTo>
                  <a:cubicBezTo>
                    <a:pt x="467" y="17"/>
                    <a:pt x="317" y="1"/>
                    <a:pt x="20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4" name="Google Shape;1720;g19b32c0fc37_0_42"/>
            <p:cNvSpPr/>
            <p:nvPr/>
          </p:nvSpPr>
          <p:spPr>
            <a:xfrm>
              <a:off x="3443475" y="912750"/>
              <a:ext cx="674650" cy="2686950"/>
            </a:xfrm>
            <a:custGeom>
              <a:avLst/>
              <a:ahLst/>
              <a:rect l="l" t="t" r="r" b="b"/>
              <a:pathLst>
                <a:path w="26986" h="107478" extrusionOk="0">
                  <a:moveTo>
                    <a:pt x="12075" y="1"/>
                  </a:moveTo>
                  <a:cubicBezTo>
                    <a:pt x="10541" y="1"/>
                    <a:pt x="9140" y="902"/>
                    <a:pt x="8473" y="2269"/>
                  </a:cubicBezTo>
                  <a:lnTo>
                    <a:pt x="2635" y="13344"/>
                  </a:lnTo>
                  <a:cubicBezTo>
                    <a:pt x="901" y="16580"/>
                    <a:pt x="0" y="20215"/>
                    <a:pt x="0" y="23918"/>
                  </a:cubicBezTo>
                  <a:lnTo>
                    <a:pt x="0" y="100907"/>
                  </a:lnTo>
                  <a:lnTo>
                    <a:pt x="10274" y="107478"/>
                  </a:lnTo>
                  <a:lnTo>
                    <a:pt x="17379" y="107478"/>
                  </a:lnTo>
                  <a:lnTo>
                    <a:pt x="26986" y="100907"/>
                  </a:lnTo>
                  <a:lnTo>
                    <a:pt x="26986" y="24252"/>
                  </a:lnTo>
                  <a:cubicBezTo>
                    <a:pt x="26986" y="20716"/>
                    <a:pt x="26119" y="17213"/>
                    <a:pt x="24551" y="14078"/>
                  </a:cubicBezTo>
                  <a:lnTo>
                    <a:pt x="18580" y="2203"/>
                  </a:lnTo>
                  <a:cubicBezTo>
                    <a:pt x="17879" y="868"/>
                    <a:pt x="16512" y="1"/>
                    <a:pt x="1501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5" name="Google Shape;1721;g19b32c0fc37_0_42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6" name="Google Shape;1722;g19b32c0fc37_0_42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7" name="Google Shape;1723;g19b32c0fc37_0_42"/>
            <p:cNvSpPr/>
            <p:nvPr/>
          </p:nvSpPr>
          <p:spPr>
            <a:xfrm>
              <a:off x="2797175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25852" y="1"/>
                  </a:moveTo>
                  <a:cubicBezTo>
                    <a:pt x="25852" y="1"/>
                    <a:pt x="21616" y="18347"/>
                    <a:pt x="10808" y="26453"/>
                  </a:cubicBezTo>
                  <a:cubicBezTo>
                    <a:pt x="0" y="34559"/>
                    <a:pt x="0" y="45967"/>
                    <a:pt x="0" y="45967"/>
                  </a:cubicBezTo>
                  <a:lnTo>
                    <a:pt x="25852" y="45967"/>
                  </a:lnTo>
                  <a:lnTo>
                    <a:pt x="258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8" name="Google Shape;1724;g19b32c0fc37_0_42"/>
            <p:cNvSpPr/>
            <p:nvPr/>
          </p:nvSpPr>
          <p:spPr>
            <a:xfrm>
              <a:off x="4118100" y="2132800"/>
              <a:ext cx="646325" cy="1149175"/>
            </a:xfrm>
            <a:custGeom>
              <a:avLst/>
              <a:ahLst/>
              <a:rect l="l" t="t" r="r" b="b"/>
              <a:pathLst>
                <a:path w="25853" h="45967" extrusionOk="0">
                  <a:moveTo>
                    <a:pt x="1" y="1"/>
                  </a:moveTo>
                  <a:lnTo>
                    <a:pt x="1" y="45967"/>
                  </a:lnTo>
                  <a:lnTo>
                    <a:pt x="25853" y="45967"/>
                  </a:lnTo>
                  <a:cubicBezTo>
                    <a:pt x="25853" y="45967"/>
                    <a:pt x="25853" y="34559"/>
                    <a:pt x="15045" y="26453"/>
                  </a:cubicBezTo>
                  <a:cubicBezTo>
                    <a:pt x="4204" y="18347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499" name="Google Shape;1725;g19b32c0fc37_0_42"/>
            <p:cNvSpPr/>
            <p:nvPr/>
          </p:nvSpPr>
          <p:spPr>
            <a:xfrm>
              <a:off x="3487650" y="1640775"/>
              <a:ext cx="6700" cy="635500"/>
            </a:xfrm>
            <a:custGeom>
              <a:avLst/>
              <a:ahLst/>
              <a:rect l="l" t="t" r="r" b="b"/>
              <a:pathLst>
                <a:path w="268" h="25420" extrusionOk="0">
                  <a:moveTo>
                    <a:pt x="134" y="1"/>
                  </a:moveTo>
                  <a:cubicBezTo>
                    <a:pt x="68" y="1"/>
                    <a:pt x="1" y="5705"/>
                    <a:pt x="1" y="12710"/>
                  </a:cubicBezTo>
                  <a:cubicBezTo>
                    <a:pt x="1" y="19715"/>
                    <a:pt x="68" y="25419"/>
                    <a:pt x="134" y="25419"/>
                  </a:cubicBezTo>
                  <a:cubicBezTo>
                    <a:pt x="168" y="25419"/>
                    <a:pt x="268" y="19682"/>
                    <a:pt x="268" y="12710"/>
                  </a:cubicBezTo>
                  <a:cubicBezTo>
                    <a:pt x="268" y="5705"/>
                    <a:pt x="168" y="1"/>
                    <a:pt x="13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00" name="Google Shape;1726;g19b32c0fc37_0_42"/>
            <p:cNvSpPr/>
            <p:nvPr/>
          </p:nvSpPr>
          <p:spPr>
            <a:xfrm>
              <a:off x="3494325" y="1453150"/>
              <a:ext cx="6700" cy="57575"/>
            </a:xfrm>
            <a:custGeom>
              <a:avLst/>
              <a:ahLst/>
              <a:rect l="l" t="t" r="r" b="b"/>
              <a:pathLst>
                <a:path w="268" h="2303" extrusionOk="0">
                  <a:moveTo>
                    <a:pt x="134" y="0"/>
                  </a:moveTo>
                  <a:cubicBezTo>
                    <a:pt x="34" y="367"/>
                    <a:pt x="1" y="768"/>
                    <a:pt x="34" y="1135"/>
                  </a:cubicBezTo>
                  <a:cubicBezTo>
                    <a:pt x="1" y="1535"/>
                    <a:pt x="34" y="1935"/>
                    <a:pt x="134" y="2302"/>
                  </a:cubicBezTo>
                  <a:cubicBezTo>
                    <a:pt x="234" y="1935"/>
                    <a:pt x="268" y="1535"/>
                    <a:pt x="234" y="1135"/>
                  </a:cubicBezTo>
                  <a:cubicBezTo>
                    <a:pt x="268" y="768"/>
                    <a:pt x="234" y="367"/>
                    <a:pt x="13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01" name="Google Shape;1727;g19b32c0fc37_0_42"/>
            <p:cNvSpPr/>
            <p:nvPr/>
          </p:nvSpPr>
          <p:spPr>
            <a:xfrm>
              <a:off x="3502675" y="961125"/>
              <a:ext cx="205175" cy="393650"/>
            </a:xfrm>
            <a:custGeom>
              <a:avLst/>
              <a:ahLst/>
              <a:rect l="l" t="t" r="r" b="b"/>
              <a:pathLst>
                <a:path w="8207" h="15746" extrusionOk="0">
                  <a:moveTo>
                    <a:pt x="8139" y="0"/>
                  </a:moveTo>
                  <a:cubicBezTo>
                    <a:pt x="8089" y="0"/>
                    <a:pt x="6228" y="3524"/>
                    <a:pt x="4003" y="7840"/>
                  </a:cubicBezTo>
                  <a:cubicBezTo>
                    <a:pt x="1768" y="12176"/>
                    <a:pt x="0" y="15712"/>
                    <a:pt x="67" y="15745"/>
                  </a:cubicBezTo>
                  <a:cubicBezTo>
                    <a:pt x="67" y="15745"/>
                    <a:pt x="68" y="15746"/>
                    <a:pt x="68" y="15746"/>
                  </a:cubicBezTo>
                  <a:cubicBezTo>
                    <a:pt x="151" y="15746"/>
                    <a:pt x="1979" y="12256"/>
                    <a:pt x="4203" y="7940"/>
                  </a:cubicBezTo>
                  <a:cubicBezTo>
                    <a:pt x="6438" y="3570"/>
                    <a:pt x="8206" y="34"/>
                    <a:pt x="8140" y="1"/>
                  </a:cubicBezTo>
                  <a:cubicBezTo>
                    <a:pt x="8139" y="1"/>
                    <a:pt x="8139" y="0"/>
                    <a:pt x="813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02" name="Google Shape;1728;g19b32c0fc37_0_42"/>
            <p:cNvSpPr/>
            <p:nvPr/>
          </p:nvSpPr>
          <p:spPr>
            <a:xfrm>
              <a:off x="2848050" y="2433850"/>
              <a:ext cx="525400" cy="808950"/>
            </a:xfrm>
            <a:custGeom>
              <a:avLst/>
              <a:ahLst/>
              <a:rect l="l" t="t" r="r" b="b"/>
              <a:pathLst>
                <a:path w="21016" h="32358" extrusionOk="0">
                  <a:moveTo>
                    <a:pt x="21015" y="1"/>
                  </a:moveTo>
                  <a:cubicBezTo>
                    <a:pt x="20982" y="34"/>
                    <a:pt x="20982" y="67"/>
                    <a:pt x="20982" y="101"/>
                  </a:cubicBezTo>
                  <a:cubicBezTo>
                    <a:pt x="20948" y="167"/>
                    <a:pt x="20948" y="234"/>
                    <a:pt x="20915" y="367"/>
                  </a:cubicBezTo>
                  <a:cubicBezTo>
                    <a:pt x="20882" y="501"/>
                    <a:pt x="20848" y="668"/>
                    <a:pt x="20815" y="834"/>
                  </a:cubicBezTo>
                  <a:cubicBezTo>
                    <a:pt x="20748" y="1068"/>
                    <a:pt x="20681" y="1268"/>
                    <a:pt x="20615" y="1502"/>
                  </a:cubicBezTo>
                  <a:cubicBezTo>
                    <a:pt x="20214" y="2836"/>
                    <a:pt x="19681" y="4137"/>
                    <a:pt x="18947" y="5338"/>
                  </a:cubicBezTo>
                  <a:cubicBezTo>
                    <a:pt x="17879" y="7139"/>
                    <a:pt x="16645" y="8807"/>
                    <a:pt x="15211" y="10308"/>
                  </a:cubicBezTo>
                  <a:cubicBezTo>
                    <a:pt x="13610" y="12042"/>
                    <a:pt x="11708" y="13810"/>
                    <a:pt x="9707" y="15645"/>
                  </a:cubicBezTo>
                  <a:cubicBezTo>
                    <a:pt x="7806" y="17380"/>
                    <a:pt x="6104" y="19281"/>
                    <a:pt x="4570" y="21349"/>
                  </a:cubicBezTo>
                  <a:cubicBezTo>
                    <a:pt x="3936" y="22250"/>
                    <a:pt x="3302" y="23217"/>
                    <a:pt x="2769" y="24185"/>
                  </a:cubicBezTo>
                  <a:cubicBezTo>
                    <a:pt x="2302" y="25018"/>
                    <a:pt x="1868" y="25919"/>
                    <a:pt x="1468" y="26820"/>
                  </a:cubicBezTo>
                  <a:cubicBezTo>
                    <a:pt x="934" y="28121"/>
                    <a:pt x="534" y="29455"/>
                    <a:pt x="234" y="30856"/>
                  </a:cubicBezTo>
                  <a:cubicBezTo>
                    <a:pt x="133" y="31323"/>
                    <a:pt x="67" y="31723"/>
                    <a:pt x="33" y="31990"/>
                  </a:cubicBezTo>
                  <a:lnTo>
                    <a:pt x="0" y="32257"/>
                  </a:lnTo>
                  <a:cubicBezTo>
                    <a:pt x="0" y="32290"/>
                    <a:pt x="0" y="32324"/>
                    <a:pt x="0" y="32357"/>
                  </a:cubicBezTo>
                  <a:cubicBezTo>
                    <a:pt x="0" y="32324"/>
                    <a:pt x="33" y="32290"/>
                    <a:pt x="33" y="32257"/>
                  </a:cubicBezTo>
                  <a:lnTo>
                    <a:pt x="100" y="31990"/>
                  </a:lnTo>
                  <a:cubicBezTo>
                    <a:pt x="133" y="31723"/>
                    <a:pt x="200" y="31356"/>
                    <a:pt x="334" y="30856"/>
                  </a:cubicBezTo>
                  <a:cubicBezTo>
                    <a:pt x="634" y="29488"/>
                    <a:pt x="1101" y="28154"/>
                    <a:pt x="1635" y="26886"/>
                  </a:cubicBezTo>
                  <a:cubicBezTo>
                    <a:pt x="2035" y="25986"/>
                    <a:pt x="2468" y="25119"/>
                    <a:pt x="2935" y="24285"/>
                  </a:cubicBezTo>
                  <a:cubicBezTo>
                    <a:pt x="3503" y="23317"/>
                    <a:pt x="4103" y="22383"/>
                    <a:pt x="4770" y="21483"/>
                  </a:cubicBezTo>
                  <a:cubicBezTo>
                    <a:pt x="6271" y="19414"/>
                    <a:pt x="8006" y="17513"/>
                    <a:pt x="9874" y="15812"/>
                  </a:cubicBezTo>
                  <a:cubicBezTo>
                    <a:pt x="11875" y="13977"/>
                    <a:pt x="13777" y="12209"/>
                    <a:pt x="15378" y="10441"/>
                  </a:cubicBezTo>
                  <a:cubicBezTo>
                    <a:pt x="16812" y="8907"/>
                    <a:pt x="18046" y="7239"/>
                    <a:pt x="19080" y="5404"/>
                  </a:cubicBezTo>
                  <a:cubicBezTo>
                    <a:pt x="19814" y="4170"/>
                    <a:pt x="20348" y="2869"/>
                    <a:pt x="20715" y="1502"/>
                  </a:cubicBezTo>
                  <a:cubicBezTo>
                    <a:pt x="20782" y="1301"/>
                    <a:pt x="20815" y="1068"/>
                    <a:pt x="20882" y="868"/>
                  </a:cubicBezTo>
                  <a:lnTo>
                    <a:pt x="20948" y="401"/>
                  </a:lnTo>
                  <a:cubicBezTo>
                    <a:pt x="20982" y="267"/>
                    <a:pt x="21015" y="167"/>
                    <a:pt x="21015" y="101"/>
                  </a:cubicBezTo>
                  <a:cubicBezTo>
                    <a:pt x="21015" y="67"/>
                    <a:pt x="21015" y="34"/>
                    <a:pt x="21015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03" name="Google Shape;1729;g19b32c0fc37_0_42"/>
            <p:cNvSpPr/>
            <p:nvPr/>
          </p:nvSpPr>
          <p:spPr>
            <a:xfrm>
              <a:off x="3602750" y="1328900"/>
              <a:ext cx="355275" cy="244350"/>
            </a:xfrm>
            <a:custGeom>
              <a:avLst/>
              <a:ahLst/>
              <a:rect l="l" t="t" r="r" b="b"/>
              <a:pathLst>
                <a:path w="14211" h="9774" extrusionOk="0">
                  <a:moveTo>
                    <a:pt x="4870" y="0"/>
                  </a:moveTo>
                  <a:cubicBezTo>
                    <a:pt x="2168" y="0"/>
                    <a:pt x="0" y="2202"/>
                    <a:pt x="0" y="4904"/>
                  </a:cubicBezTo>
                  <a:cubicBezTo>
                    <a:pt x="0" y="7606"/>
                    <a:pt x="2168" y="9774"/>
                    <a:pt x="4870" y="9774"/>
                  </a:cubicBezTo>
                  <a:lnTo>
                    <a:pt x="9340" y="9774"/>
                  </a:lnTo>
                  <a:cubicBezTo>
                    <a:pt x="12042" y="9774"/>
                    <a:pt x="14210" y="7606"/>
                    <a:pt x="14210" y="4904"/>
                  </a:cubicBezTo>
                  <a:cubicBezTo>
                    <a:pt x="14210" y="2202"/>
                    <a:pt x="12042" y="0"/>
                    <a:pt x="9340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04" name="Google Shape;1730;g19b32c0fc37_0_42"/>
            <p:cNvSpPr/>
            <p:nvPr/>
          </p:nvSpPr>
          <p:spPr>
            <a:xfrm>
              <a:off x="3443475" y="3367850"/>
              <a:ext cx="674650" cy="231850"/>
            </a:xfrm>
            <a:custGeom>
              <a:avLst/>
              <a:ahLst/>
              <a:rect l="l" t="t" r="r" b="b"/>
              <a:pathLst>
                <a:path w="26986" h="9274" extrusionOk="0">
                  <a:moveTo>
                    <a:pt x="0" y="1"/>
                  </a:moveTo>
                  <a:lnTo>
                    <a:pt x="0" y="2703"/>
                  </a:lnTo>
                  <a:lnTo>
                    <a:pt x="10274" y="9274"/>
                  </a:lnTo>
                  <a:lnTo>
                    <a:pt x="17379" y="9274"/>
                  </a:lnTo>
                  <a:lnTo>
                    <a:pt x="26986" y="2703"/>
                  </a:lnTo>
                  <a:lnTo>
                    <a:pt x="2698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180" name="Google Shape;1731;g19b32c0fc37_0_42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4107217" y="1305975"/>
            <a:ext cx="4595095" cy="5459200"/>
          </a:xfrm>
          <a:prstGeom prst="rect"/>
          <a:noFill/>
          <a:ln>
            <a:noFill/>
          </a:ln>
        </p:spPr>
      </p:pic>
      <p:sp>
        <p:nvSpPr>
          <p:cNvPr id="1049505" name="Google Shape;1732;g19b32c0fc37_0_42"/>
          <p:cNvSpPr/>
          <p:nvPr/>
        </p:nvSpPr>
        <p:spPr>
          <a:xfrm>
            <a:off x="6773950" y="1463275"/>
            <a:ext cx="1446900" cy="4851900"/>
          </a:xfrm>
          <a:prstGeom prst="roundRect">
            <a:avLst>
              <a:gd name="adj" fmla="val 16667"/>
            </a:avLst>
          </a:prstGeom>
          <a:solidFill>
            <a:srgbClr val="FF0000">
              <a:alpha val="14900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506" name="Google Shape;1733;g19b32c0fc37_0_42"/>
          <p:cNvSpPr/>
          <p:nvPr/>
        </p:nvSpPr>
        <p:spPr>
          <a:xfrm>
            <a:off x="5844270" y="1463275"/>
            <a:ext cx="890700" cy="4851900"/>
          </a:xfrm>
          <a:prstGeom prst="roundRect">
            <a:avLst>
              <a:gd name="adj" fmla="val 16667"/>
            </a:avLst>
          </a:prstGeom>
          <a:solidFill>
            <a:srgbClr val="548135">
              <a:alpha val="14900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507" name="Google Shape;1734;g19b32c0fc37_0_42"/>
          <p:cNvSpPr txBox="1"/>
          <p:nvPr/>
        </p:nvSpPr>
        <p:spPr>
          <a:xfrm>
            <a:off x="2802125" y="5780175"/>
            <a:ext cx="2124000" cy="675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Value </a:t>
            </a:r>
            <a:r>
              <a:rPr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 that generates </a:t>
            </a: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retention</a:t>
            </a:r>
          </a:p>
        </p:txBody>
      </p:sp>
      <p:sp>
        <p:nvSpPr>
          <p:cNvPr id="1049508" name="Google Shape;1735;g19b32c0fc37_0_42"/>
          <p:cNvSpPr txBox="1"/>
          <p:nvPr/>
        </p:nvSpPr>
        <p:spPr>
          <a:xfrm>
            <a:off x="8448704" y="2471489"/>
            <a:ext cx="2124000" cy="3835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Value  </a:t>
            </a:r>
            <a:r>
              <a:rPr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that generates </a:t>
            </a: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churn</a:t>
            </a:r>
          </a:p>
        </p:txBody>
      </p:sp>
      <p:pic>
        <p:nvPicPr>
          <p:cNvPr id="2097181" name="Google Shape;1736;g19b32c0fc37_0_4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6892195" flipH="1">
            <a:off x="8103139" y="2729409"/>
            <a:ext cx="1068191" cy="928229"/>
          </a:xfrm>
          <a:prstGeom prst="rect"/>
          <a:noFill/>
          <a:ln>
            <a:noFill/>
          </a:ln>
        </p:spPr>
      </p:pic>
      <p:sp>
        <p:nvSpPr>
          <p:cNvPr id="1049509" name="Google Shape;1737;g19b32c0fc37_0_42"/>
          <p:cNvSpPr/>
          <p:nvPr/>
        </p:nvSpPr>
        <p:spPr>
          <a:xfrm>
            <a:off x="4697525" y="1539400"/>
            <a:ext cx="1209900" cy="4467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510" name="Google Shape;1738;g19b32c0fc37_0_42"/>
          <p:cNvSpPr txBox="1"/>
          <p:nvPr/>
        </p:nvSpPr>
        <p:spPr>
          <a:xfrm>
            <a:off x="1458775" y="2138500"/>
            <a:ext cx="2824200" cy="3835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Feature Importance </a:t>
            </a:r>
            <a:r>
              <a:rPr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will be exploratory</a:t>
            </a:r>
          </a:p>
        </p:txBody>
      </p:sp>
      <p:pic>
        <p:nvPicPr>
          <p:cNvPr id="2097182" name="Google Shape;1739;g19b32c0fc37_0_4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1847168" flipH="1">
            <a:off x="3542731" y="1280608"/>
            <a:ext cx="1109688" cy="964285"/>
          </a:xfrm>
          <a:prstGeom prst="rect"/>
          <a:noFill/>
          <a:ln>
            <a:noFill/>
          </a:ln>
        </p:spPr>
      </p:pic>
      <p:pic>
        <p:nvPicPr>
          <p:cNvPr id="2097183" name="Google Shape;1740;g19b32c0fc37_0_4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8461450">
            <a:off x="4794364" y="5808909"/>
            <a:ext cx="1068191" cy="928229"/>
          </a:xfrm>
          <a:prstGeom prst="rect"/>
          <a:noFill/>
          <a:ln>
            <a:noFill/>
          </a:ln>
        </p:spPr>
      </p:pic>
      <p:sp>
        <p:nvSpPr>
          <p:cNvPr id="1049511" name="Google Shape;1741;g19b32c0fc37_0_42"/>
          <p:cNvSpPr txBox="1"/>
          <p:nvPr/>
        </p:nvSpPr>
        <p:spPr>
          <a:xfrm>
            <a:off x="957366" y="6612765"/>
            <a:ext cx="5281500" cy="1651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1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800" lang="en-ID">
                <a:solidFill>
                  <a:srgbClr val="13538A"/>
                </a:solidFill>
                <a:latin typeface="Barlow"/>
                <a:ea typeface="Barlow"/>
                <a:cs typeface="Barlow"/>
                <a:sym typeface="Barlow"/>
              </a:rPr>
              <a:t>https://medium.com/dataman-in-ai/explain-your-model-with-the-shap-values-bc36aac4de3d</a:t>
            </a:r>
            <a:endParaRPr b="1" sz="800">
              <a:solidFill>
                <a:srgbClr val="13538A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1049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4">
                            <p:stCondLst>
                              <p:cond delay="5000"/>
                            </p:stCondLst>
                            <p:childTnLst>
                              <p:par>
                                <p:cTn fill="hold" id="1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7"/>
                                        <p:tgtEl>
                                          <p:spTgt spid="1049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0"/>
                                        <p:tgtEl>
                                          <p:spTgt spid="2097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3"/>
                                        <p:tgtEl>
                                          <p:spTgt spid="1049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26"/>
                                        <p:tgtEl>
                                          <p:spTgt spid="1049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29"/>
                                        <p:tgtEl>
                                          <p:spTgt spid="2097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32"/>
                                        <p:tgtEl>
                                          <p:spTgt spid="1049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16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14" name="Google Shape;1746;g193347d103b_3_581"/>
          <p:cNvSpPr txBox="1">
            <a:spLocks noGrp="1"/>
          </p:cNvSpPr>
          <p:nvPr>
            <p:ph type="title"/>
          </p:nvPr>
        </p:nvSpPr>
        <p:spPr>
          <a:xfrm>
            <a:off x="1016148" y="2077445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</a:pPr>
            <a:r>
              <a:rPr sz="5900" lang="en-ID"/>
              <a:t>Survival Analyst</a:t>
            </a:r>
            <a:endParaRPr sz="5900"/>
          </a:p>
        </p:txBody>
      </p:sp>
      <p:sp>
        <p:nvSpPr>
          <p:cNvPr id="1049515" name="Google Shape;1747;g193347d103b_3_581"/>
          <p:cNvSpPr txBox="1">
            <a:spLocks noGrp="1"/>
          </p:cNvSpPr>
          <p:nvPr>
            <p:ph type="subTitle" idx="1"/>
          </p:nvPr>
        </p:nvSpPr>
        <p:spPr>
          <a:xfrm>
            <a:off x="1300279" y="3794073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Using Kaplan-Meier (KM) and COx Proportional Hazard (CPH) Model</a:t>
            </a:r>
          </a:p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 </a:t>
            </a:r>
          </a:p>
        </p:txBody>
      </p:sp>
      <p:grpSp>
        <p:nvGrpSpPr>
          <p:cNvPr id="317" name="Google Shape;1748;g193347d103b_3_581"/>
          <p:cNvGrpSpPr/>
          <p:nvPr/>
        </p:nvGrpSpPr>
        <p:grpSpPr>
          <a:xfrm>
            <a:off x="10422632" y="4130723"/>
            <a:ext cx="1169763" cy="2723341"/>
            <a:chOff x="731955" y="2811840"/>
            <a:chExt cx="564367" cy="1313910"/>
          </a:xfrm>
        </p:grpSpPr>
        <p:sp>
          <p:nvSpPr>
            <p:cNvPr id="1049516" name="Google Shape;1749;g193347d103b_3_581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17" name="Google Shape;1750;g193347d103b_3_581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18" name="Google Shape;1751;g193347d103b_3_581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19" name="Google Shape;1752;g193347d103b_3_581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0" name="Google Shape;1753;g193347d103b_3_581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1" name="Google Shape;1754;g193347d103b_3_581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2" name="Google Shape;1755;g193347d103b_3_581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3" name="Google Shape;1756;g193347d103b_3_581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4" name="Google Shape;1757;g193347d103b_3_581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5" name="Google Shape;1758;g193347d103b_3_581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6" name="Google Shape;1759;g193347d103b_3_581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7" name="Google Shape;1760;g193347d103b_3_581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8" name="Google Shape;1761;g193347d103b_3_581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29" name="Google Shape;1762;g193347d103b_3_581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0" name="Google Shape;1763;g193347d103b_3_581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1" name="Google Shape;1764;g193347d103b_3_581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2" name="Google Shape;1765;g193347d103b_3_581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3" name="Google Shape;1766;g193347d103b_3_581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4" name="Google Shape;1767;g193347d103b_3_58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5" name="Google Shape;1768;g193347d103b_3_581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6" name="Google Shape;1769;g193347d103b_3_58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7" name="Google Shape;1770;g193347d103b_3_58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8" name="Google Shape;1771;g193347d103b_3_581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39" name="Google Shape;1772;g193347d103b_3_58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0" name="Google Shape;1773;g193347d103b_3_58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1" name="Google Shape;1774;g193347d103b_3_58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2" name="Google Shape;1775;g193347d103b_3_581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3" name="Google Shape;1776;g193347d103b_3_58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4" name="Google Shape;1777;g193347d103b_3_58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5" name="Google Shape;1778;g193347d103b_3_581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18" name="Google Shape;1779;g193347d103b_3_581"/>
          <p:cNvGrpSpPr/>
          <p:nvPr/>
        </p:nvGrpSpPr>
        <p:grpSpPr>
          <a:xfrm flipH="1">
            <a:off x="845604" y="5633289"/>
            <a:ext cx="735967" cy="1220783"/>
            <a:chOff x="731955" y="3388996"/>
            <a:chExt cx="355077" cy="588982"/>
          </a:xfrm>
        </p:grpSpPr>
        <p:sp>
          <p:nvSpPr>
            <p:cNvPr id="1049546" name="Google Shape;1780;g193347d103b_3_581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7" name="Google Shape;1781;g193347d103b_3_58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8" name="Google Shape;1782;g193347d103b_3_581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49" name="Google Shape;1783;g193347d103b_3_58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0" name="Google Shape;1784;g193347d103b_3_58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1" name="Google Shape;1785;g193347d103b_3_581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2" name="Google Shape;1786;g193347d103b_3_58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3" name="Google Shape;1787;g193347d103b_3_58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4" name="Google Shape;1788;g193347d103b_3_58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5" name="Google Shape;1789;g193347d103b_3_581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6" name="Google Shape;1790;g193347d103b_3_58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7" name="Google Shape;1791;g193347d103b_3_58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58" name="Google Shape;1792;g193347d103b_3_581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21" name="Shape 1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61" name="Google Shape;1797;g19a6bfd5701_2_844"/>
          <p:cNvSpPr txBox="1">
            <a:spLocks noGrp="1"/>
          </p:cNvSpPr>
          <p:nvPr>
            <p:ph type="title"/>
          </p:nvPr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0" cap="none" sz="40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Kaplan-Meier(KM) Survival Curve</a:t>
            </a:r>
            <a:endParaRPr b="0" cap="none" sz="4000" i="0" strike="noStrike" u="none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322" name="Google Shape;1798;g19a6bfd5701_2_844"/>
          <p:cNvGrpSpPr/>
          <p:nvPr/>
        </p:nvGrpSpPr>
        <p:grpSpPr>
          <a:xfrm>
            <a:off x="122574" y="1449650"/>
            <a:ext cx="6773501" cy="4382074"/>
            <a:chOff x="259878" y="1342843"/>
            <a:chExt cx="6332150" cy="4382074"/>
          </a:xfrm>
        </p:grpSpPr>
        <p:pic>
          <p:nvPicPr>
            <p:cNvPr id="2097184" name="Google Shape;1799;g19a6bfd5701_2_844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1">
              <a:alphaModFix/>
            </a:blip>
            <a:srcRect/>
            <a:stretch>
              <a:fillRect/>
            </a:stretch>
          </p:blipFill>
          <p:spPr>
            <a:xfrm>
              <a:off x="259878" y="1342843"/>
              <a:ext cx="6332150" cy="4382074"/>
            </a:xfrm>
            <a:prstGeom prst="rect"/>
            <a:noFill/>
            <a:ln>
              <a:noFill/>
            </a:ln>
          </p:spPr>
        </p:pic>
        <p:sp>
          <p:nvSpPr>
            <p:cNvPr id="1049562" name="Google Shape;1800;g19a6bfd5701_2_844"/>
            <p:cNvSpPr/>
            <p:nvPr/>
          </p:nvSpPr>
          <p:spPr>
            <a:xfrm>
              <a:off x="770467" y="5515158"/>
              <a:ext cx="5486400" cy="59273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784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563" name="Google Shape;1801;g19a6bfd5701_2_844"/>
            <p:cNvSpPr/>
            <p:nvPr/>
          </p:nvSpPr>
          <p:spPr>
            <a:xfrm>
              <a:off x="770467" y="5432993"/>
              <a:ext cx="5486400" cy="59273"/>
            </a:xfrm>
            <a:prstGeom prst="roundRect">
              <a:avLst>
                <a:gd name="adj" fmla="val 16667"/>
              </a:avLst>
            </a:prstGeom>
            <a:solidFill>
              <a:schemeClr val="accent4">
                <a:alpha val="20784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564" name="Google Shape;1802;g19a6bfd5701_2_844"/>
            <p:cNvSpPr/>
            <p:nvPr/>
          </p:nvSpPr>
          <p:spPr>
            <a:xfrm>
              <a:off x="770467" y="5352674"/>
              <a:ext cx="5486400" cy="5927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20784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565" name="Google Shape;1803;g19a6bfd5701_2_844"/>
          <p:cNvSpPr txBox="1"/>
          <p:nvPr/>
        </p:nvSpPr>
        <p:spPr>
          <a:xfrm>
            <a:off x="52491" y="6734990"/>
            <a:ext cx="5281500" cy="1650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1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800" lang="en-ID">
                <a:solidFill>
                  <a:srgbClr val="13538A"/>
                </a:solidFill>
                <a:latin typeface="Barlow"/>
                <a:ea typeface="Barlow"/>
                <a:cs typeface="Barlow"/>
                <a:sym typeface="Barlow"/>
              </a:rPr>
              <a:t>https://towardsdatascience.com/how-to-not-predict-and-prevent-customer-churn-1097c0a1ef3b</a:t>
            </a:r>
            <a:endParaRPr b="1" sz="800">
              <a:solidFill>
                <a:srgbClr val="13538A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049566" name="Google Shape;1804;g19a6bfd5701_2_844"/>
          <p:cNvSpPr txBox="1"/>
          <p:nvPr/>
        </p:nvSpPr>
        <p:spPr>
          <a:xfrm>
            <a:off x="7648027" y="4537075"/>
            <a:ext cx="4391700" cy="507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600"/>
              </a:spcAft>
              <a:buNone/>
            </a:pP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Events : 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831</a:t>
            </a:r>
            <a:r>
              <a:rPr b="0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customer 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churn</a:t>
            </a:r>
            <a:r>
              <a:rPr b="0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(1</a:t>
            </a: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7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%)</a:t>
            </a:r>
          </a:p>
        </p:txBody>
      </p:sp>
      <p:sp>
        <p:nvSpPr>
          <p:cNvPr id="1049567" name="Google Shape;1805;g19a6bfd5701_2_844"/>
          <p:cNvSpPr txBox="1"/>
          <p:nvPr/>
        </p:nvSpPr>
        <p:spPr>
          <a:xfrm>
            <a:off x="7674700" y="2402025"/>
            <a:ext cx="4391700" cy="5073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600"/>
              </a:spcAft>
              <a:buNone/>
            </a:pP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At risk : 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683</a:t>
            </a:r>
            <a:r>
              <a:rPr b="0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customer </a:t>
            </a: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not churn (13%)</a:t>
            </a:r>
            <a:endParaRPr b="1"/>
          </a:p>
        </p:txBody>
      </p:sp>
      <p:sp>
        <p:nvSpPr>
          <p:cNvPr id="1049568" name="Google Shape;1806;g19a6bfd5701_2_844"/>
          <p:cNvSpPr txBox="1"/>
          <p:nvPr/>
        </p:nvSpPr>
        <p:spPr>
          <a:xfrm>
            <a:off x="7620175" y="3474500"/>
            <a:ext cx="4543200" cy="5061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600"/>
              </a:spcAft>
              <a:buNone/>
            </a:pP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Censored : 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3559</a:t>
            </a:r>
            <a:r>
              <a:rPr b="0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customer </a:t>
            </a:r>
            <a:r>
              <a:rPr b="1" sz="18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will</a:t>
            </a:r>
            <a:r>
              <a:rPr b="1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be churn (70%)</a:t>
            </a:r>
            <a:r>
              <a:rPr b="0" sz="1800" i="0" lang="en-ID" strike="noStrike" u="none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</a:p>
        </p:txBody>
      </p:sp>
      <p:grpSp>
        <p:nvGrpSpPr>
          <p:cNvPr id="323" name="Google Shape;1807;g19a6bfd5701_2_844"/>
          <p:cNvGrpSpPr/>
          <p:nvPr/>
        </p:nvGrpSpPr>
        <p:grpSpPr>
          <a:xfrm>
            <a:off x="6956164" y="4220122"/>
            <a:ext cx="803963" cy="599462"/>
            <a:chOff x="1003741" y="1793071"/>
            <a:chExt cx="803963" cy="599462"/>
          </a:xfrm>
        </p:grpSpPr>
        <p:cxnSp>
          <p:nvCxnSpPr>
            <p:cNvPr id="3145760" name="Google Shape;1808;g19a6bfd5701_2_844"/>
            <p:cNvCxnSpPr>
              <a:cxnSpLocks/>
            </p:cNvCxnSpPr>
            <p:nvPr/>
          </p:nvCxnSpPr>
          <p:spPr>
            <a:xfrm>
              <a:off x="1003741" y="2392533"/>
              <a:ext cx="713400" cy="0"/>
            </a:xfrm>
            <a:prstGeom prst="straightConnector1"/>
            <a:noFill/>
            <a:ln w="38100" cap="flat" cmpd="sng">
              <a:solidFill>
                <a:srgbClr val="FF0000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sp>
          <p:nvSpPr>
            <p:cNvPr id="1049569" name="Google Shape;1809;g19a6bfd5701_2_844"/>
            <p:cNvSpPr txBox="1"/>
            <p:nvPr/>
          </p:nvSpPr>
          <p:spPr>
            <a:xfrm>
              <a:off x="1005804" y="1793071"/>
              <a:ext cx="801900" cy="5073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sz="3200" i="0" lang="en-ID" strike="noStrike" u="none">
                  <a:solidFill>
                    <a:srgbClr val="FF0000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2</a:t>
              </a:r>
              <a:r>
                <a:rPr sz="3200" lang="en-ID">
                  <a:solidFill>
                    <a:srgbClr val="FF0000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0</a:t>
              </a:r>
              <a:endParaRPr sz="3200" i="0" strike="noStrike" u="none">
                <a:solidFill>
                  <a:srgbClr val="FF0000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  <p:grpSp>
        <p:nvGrpSpPr>
          <p:cNvPr id="324" name="Google Shape;1810;g19a6bfd5701_2_844"/>
          <p:cNvGrpSpPr/>
          <p:nvPr/>
        </p:nvGrpSpPr>
        <p:grpSpPr>
          <a:xfrm>
            <a:off x="7022761" y="2066038"/>
            <a:ext cx="803963" cy="599462"/>
            <a:chOff x="545761" y="2839387"/>
            <a:chExt cx="803963" cy="599462"/>
          </a:xfrm>
        </p:grpSpPr>
        <p:cxnSp>
          <p:nvCxnSpPr>
            <p:cNvPr id="3145761" name="Google Shape;1811;g19a6bfd5701_2_844"/>
            <p:cNvCxnSpPr>
              <a:cxnSpLocks/>
            </p:cNvCxnSpPr>
            <p:nvPr/>
          </p:nvCxnSpPr>
          <p:spPr>
            <a:xfrm>
              <a:off x="545761" y="3438849"/>
              <a:ext cx="713400" cy="0"/>
            </a:xfrm>
            <a:prstGeom prst="straightConnector1"/>
            <a:noFill/>
            <a:ln w="38100" cap="flat" cmpd="sng">
              <a:solidFill>
                <a:srgbClr val="548135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sp>
          <p:nvSpPr>
            <p:cNvPr id="1049570" name="Google Shape;1812;g19a6bfd5701_2_844"/>
            <p:cNvSpPr txBox="1"/>
            <p:nvPr/>
          </p:nvSpPr>
          <p:spPr>
            <a:xfrm>
              <a:off x="547824" y="2839387"/>
              <a:ext cx="801900" cy="5073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sz="3200" i="0" lang="en-ID" strike="noStrike" u="none">
                  <a:solidFill>
                    <a:srgbClr val="548135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20</a:t>
              </a:r>
              <a:endParaRPr sz="3200" i="0" strike="noStrike" u="none">
                <a:solidFill>
                  <a:srgbClr val="548135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  <p:grpSp>
        <p:nvGrpSpPr>
          <p:cNvPr id="325" name="Google Shape;1813;g19a6bfd5701_2_844"/>
          <p:cNvGrpSpPr/>
          <p:nvPr/>
        </p:nvGrpSpPr>
        <p:grpSpPr>
          <a:xfrm>
            <a:off x="6961100" y="3174776"/>
            <a:ext cx="803963" cy="599462"/>
            <a:chOff x="1003741" y="1793071"/>
            <a:chExt cx="803963" cy="599462"/>
          </a:xfrm>
        </p:grpSpPr>
        <p:cxnSp>
          <p:nvCxnSpPr>
            <p:cNvPr id="3145762" name="Google Shape;1814;g19a6bfd5701_2_844"/>
            <p:cNvCxnSpPr>
              <a:cxnSpLocks/>
            </p:cNvCxnSpPr>
            <p:nvPr/>
          </p:nvCxnSpPr>
          <p:spPr>
            <a:xfrm>
              <a:off x="1003741" y="2392533"/>
              <a:ext cx="713400" cy="0"/>
            </a:xfrm>
            <a:prstGeom prst="straightConnector1"/>
            <a:noFill/>
            <a:ln w="38100" cap="flat" cmpd="sng">
              <a:solidFill>
                <a:schemeClr val="accent4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sp>
          <p:nvSpPr>
            <p:cNvPr id="1049571" name="Google Shape;1815;g19a6bfd5701_2_844"/>
            <p:cNvSpPr txBox="1"/>
            <p:nvPr/>
          </p:nvSpPr>
          <p:spPr>
            <a:xfrm>
              <a:off x="1005804" y="1793071"/>
              <a:ext cx="801900" cy="5073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sz="3200" i="0" lang="en-ID" strike="noStrike" u="none">
                  <a:solidFill>
                    <a:schemeClr val="accent4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20</a:t>
              </a:r>
              <a:endParaRPr sz="3200" i="0" strike="noStrike" u="none">
                <a:solidFill>
                  <a:schemeClr val="accent4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  <p:cxnSp>
        <p:nvCxnSpPr>
          <p:cNvPr id="3145763" name="Google Shape;1816;g19a6bfd5701_2_844"/>
          <p:cNvCxnSpPr>
            <a:cxnSpLocks/>
          </p:cNvCxnSpPr>
          <p:nvPr/>
        </p:nvCxnSpPr>
        <p:spPr>
          <a:xfrm rot="10800000">
            <a:off x="3114675" y="1671800"/>
            <a:ext cx="0" cy="3486000"/>
          </a:xfrm>
          <a:prstGeom prst="straightConnector1"/>
          <a:noFill/>
          <a:ln w="2857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</p:cxnSp>
      <p:grpSp>
        <p:nvGrpSpPr>
          <p:cNvPr id="326" name="Google Shape;1817;g19a6bfd5701_2_844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572" name="Google Shape;1818;g19a6bfd5701_2_844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3" name="Google Shape;1819;g19a6bfd5701_2_844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4" name="Google Shape;1820;g19a6bfd5701_2_844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5" name="Google Shape;1821;g19a6bfd5701_2_844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6" name="Google Shape;1822;g19a6bfd5701_2_844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7" name="Google Shape;1823;g19a6bfd5701_2_844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8" name="Google Shape;1824;g19a6bfd5701_2_844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79" name="Google Shape;1825;g19a6bfd5701_2_844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80" name="Google Shape;1826;g19a6bfd5701_2_844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81" name="Google Shape;1827;g19a6bfd5701_2_844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82" name="Google Shape;1828;g19a6bfd5701_2_844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83" name="Google Shape;1829;g19a6bfd5701_2_844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1049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0"/>
                                        <p:tgtEl>
                                          <p:spTgt spid="1049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3"/>
                                        <p:tgtEl>
                                          <p:spTgt spid="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6"/>
                                        <p:tgtEl>
                                          <p:spTgt spid="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9"/>
                                        <p:tgtEl>
                                          <p:spTgt spid="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22"/>
                                        <p:tgtEl>
                                          <p:spTgt spid="3145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25"/>
                                        <p:tgtEl>
                                          <p:spTgt spid="1049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BED"/>
        </a:solidFill>
      </p:bgPr>
    </p:bg>
    <p:spTree>
      <p:nvGrpSpPr>
        <p:cNvPr id="150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6" name="Google Shape;707;g19dcec343aa_7_0"/>
          <p:cNvSpPr/>
          <p:nvPr/>
        </p:nvSpPr>
        <p:spPr>
          <a:xfrm>
            <a:off x="3897400" y="1657033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07" name="Google Shape;708;g19dcec343aa_7_0"/>
          <p:cNvSpPr/>
          <p:nvPr/>
        </p:nvSpPr>
        <p:spPr>
          <a:xfrm>
            <a:off x="6894600" y="1657033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08" name="Google Shape;709;g19dcec343aa_7_0"/>
          <p:cNvSpPr/>
          <p:nvPr/>
        </p:nvSpPr>
        <p:spPr>
          <a:xfrm>
            <a:off x="6894600" y="4112567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09" name="Google Shape;710;g19dcec343aa_7_0"/>
          <p:cNvSpPr/>
          <p:nvPr/>
        </p:nvSpPr>
        <p:spPr>
          <a:xfrm>
            <a:off x="3897400" y="4112567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0" name="Google Shape;711;g19dcec343aa_7_0"/>
          <p:cNvSpPr/>
          <p:nvPr/>
        </p:nvSpPr>
        <p:spPr>
          <a:xfrm>
            <a:off x="1240261" y="4112567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1" name="Google Shape;712;g19dcec343aa_7_0"/>
          <p:cNvSpPr/>
          <p:nvPr/>
        </p:nvSpPr>
        <p:spPr>
          <a:xfrm>
            <a:off x="1240195" y="1657033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2" name="Google Shape;713;g19dcec343aa_7_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Fredoka One"/>
              <a:buNone/>
            </a:pPr>
            <a:r>
              <a:rPr lang="en-ID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OUTLINE</a:t>
            </a:r>
            <a:endParaRPr>
              <a:solidFill>
                <a:srgbClr val="305CBB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3" name="Google Shape;714;g19dcec343aa_7_0"/>
          <p:cNvSpPr txBox="1"/>
          <p:nvPr/>
        </p:nvSpPr>
        <p:spPr>
          <a:xfrm>
            <a:off x="-4139" y="253177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About us</a:t>
            </a:r>
            <a:endParaRPr b="0" cap="none" sz="2500" i="0" strike="noStrike" u="none">
              <a:solidFill>
                <a:srgbClr val="305CBB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4" name="Google Shape;715;g19dcec343aa_7_0"/>
          <p:cNvSpPr txBox="1"/>
          <p:nvPr/>
        </p:nvSpPr>
        <p:spPr>
          <a:xfrm>
            <a:off x="2539833" y="2559541"/>
            <a:ext cx="36072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Background</a:t>
            </a:r>
          </a:p>
        </p:txBody>
      </p:sp>
      <p:sp>
        <p:nvSpPr>
          <p:cNvPr id="1048615" name="Google Shape;716;g19dcec343aa_7_0"/>
          <p:cNvSpPr txBox="1"/>
          <p:nvPr/>
        </p:nvSpPr>
        <p:spPr>
          <a:xfrm>
            <a:off x="6071125" y="2531775"/>
            <a:ext cx="25002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EDA</a:t>
            </a:r>
          </a:p>
        </p:txBody>
      </p:sp>
      <p:sp>
        <p:nvSpPr>
          <p:cNvPr id="1048616" name="Google Shape;717;g19dcec343aa_7_0"/>
          <p:cNvSpPr txBox="1"/>
          <p:nvPr/>
        </p:nvSpPr>
        <p:spPr>
          <a:xfrm>
            <a:off x="27292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Survival Analysis</a:t>
            </a:r>
          </a:p>
        </p:txBody>
      </p:sp>
      <p:sp>
        <p:nvSpPr>
          <p:cNvPr id="1048617" name="Google Shape;718;g19dcec343aa_7_0"/>
          <p:cNvSpPr txBox="1"/>
          <p:nvPr/>
        </p:nvSpPr>
        <p:spPr>
          <a:xfrm>
            <a:off x="57264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RFM Segmentation</a:t>
            </a:r>
          </a:p>
        </p:txBody>
      </p:sp>
      <p:sp>
        <p:nvSpPr>
          <p:cNvPr id="1048618" name="Google Shape;719;g19dcec343aa_7_0"/>
          <p:cNvSpPr txBox="1">
            <a:spLocks noGrp="1"/>
          </p:cNvSpPr>
          <p:nvPr>
            <p:ph type="title" idx="16"/>
          </p:nvPr>
        </p:nvSpPr>
        <p:spPr>
          <a:xfrm>
            <a:off x="1163928" y="1657033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5EBED"/>
              </a:buClr>
              <a:buSzPts val="4000"/>
              <a:buFont typeface="Fredoka One"/>
              <a:buNone/>
            </a:pPr>
            <a:r>
              <a:rPr lang="en-ID">
                <a:solidFill>
                  <a:srgbClr val="E5EBED"/>
                </a:solidFill>
                <a:latin typeface="Fredoka One"/>
                <a:ea typeface="Fredoka One"/>
                <a:cs typeface="Fredoka One"/>
                <a:sym typeface="Fredoka One"/>
              </a:rPr>
              <a:t>01</a:t>
            </a:r>
            <a:endParaRPr>
              <a:solidFill>
                <a:srgbClr val="E5EBED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19" name="Google Shape;720;g19dcec343aa_7_0"/>
          <p:cNvSpPr txBox="1"/>
          <p:nvPr/>
        </p:nvSpPr>
        <p:spPr>
          <a:xfrm>
            <a:off x="3897400" y="1653758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2</a:t>
            </a:r>
            <a:endParaRPr b="0" cap="none" sz="4000" i="0" strike="noStrike" u="none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20" name="Google Shape;721;g19dcec343aa_7_0"/>
          <p:cNvSpPr txBox="1"/>
          <p:nvPr/>
        </p:nvSpPr>
        <p:spPr>
          <a:xfrm>
            <a:off x="3897400" y="4111248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6</a:t>
            </a:r>
          </a:p>
        </p:txBody>
      </p:sp>
      <p:sp>
        <p:nvSpPr>
          <p:cNvPr id="1048621" name="Google Shape;722;g19dcec343aa_7_0"/>
          <p:cNvSpPr txBox="1"/>
          <p:nvPr/>
        </p:nvSpPr>
        <p:spPr>
          <a:xfrm>
            <a:off x="6894200" y="1657628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3</a:t>
            </a:r>
          </a:p>
        </p:txBody>
      </p:sp>
      <p:sp>
        <p:nvSpPr>
          <p:cNvPr id="1048622" name="Google Shape;723;g19dcec343aa_7_0"/>
          <p:cNvSpPr txBox="1"/>
          <p:nvPr/>
        </p:nvSpPr>
        <p:spPr>
          <a:xfrm>
            <a:off x="6894200" y="4112567"/>
            <a:ext cx="8925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7</a:t>
            </a:r>
          </a:p>
        </p:txBody>
      </p:sp>
      <p:sp>
        <p:nvSpPr>
          <p:cNvPr id="1048623" name="Google Shape;724;g19dcec343aa_7_0"/>
          <p:cNvSpPr/>
          <p:nvPr/>
        </p:nvSpPr>
        <p:spPr>
          <a:xfrm>
            <a:off x="2155100" y="1585675"/>
            <a:ext cx="125700" cy="1257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24" name="Google Shape;725;g19dcec343aa_7_0"/>
          <p:cNvSpPr/>
          <p:nvPr/>
        </p:nvSpPr>
        <p:spPr>
          <a:xfrm>
            <a:off x="6833133" y="4182900"/>
            <a:ext cx="125700" cy="1257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25" name="Google Shape;726;g19dcec343aa_7_0"/>
          <p:cNvSpPr/>
          <p:nvPr/>
        </p:nvSpPr>
        <p:spPr>
          <a:xfrm>
            <a:off x="7098867" y="3967167"/>
            <a:ext cx="48000" cy="480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26" name="Google Shape;727;g19dcec343aa_7_0"/>
          <p:cNvSpPr/>
          <p:nvPr/>
        </p:nvSpPr>
        <p:spPr>
          <a:xfrm rot="2506023">
            <a:off x="3690458" y="4132184"/>
            <a:ext cx="227045" cy="227045"/>
          </a:xfrm>
          <a:custGeom>
            <a:avLst/>
            <a:ah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27" name="Google Shape;728;g19dcec343aa_7_0"/>
          <p:cNvSpPr txBox="1"/>
          <p:nvPr/>
        </p:nvSpPr>
        <p:spPr>
          <a:xfrm>
            <a:off x="-4139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Churn Predict</a:t>
            </a:r>
          </a:p>
        </p:txBody>
      </p:sp>
      <p:sp>
        <p:nvSpPr>
          <p:cNvPr id="1048628" name="Google Shape;729;g19dcec343aa_7_0"/>
          <p:cNvSpPr txBox="1">
            <a:spLocks noGrp="1"/>
          </p:cNvSpPr>
          <p:nvPr>
            <p:ph type="title" idx="17"/>
          </p:nvPr>
        </p:nvSpPr>
        <p:spPr>
          <a:xfrm>
            <a:off x="1163928" y="4112567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lang="en-ID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5</a:t>
            </a:r>
            <a:endParaRPr>
              <a:solidFill>
                <a:srgbClr val="E7ECEE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29" name="Google Shape;730;g19dcec343aa_7_0"/>
          <p:cNvSpPr/>
          <p:nvPr/>
        </p:nvSpPr>
        <p:spPr>
          <a:xfrm>
            <a:off x="10018800" y="1657033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30" name="Google Shape;731;g19dcec343aa_7_0"/>
          <p:cNvSpPr/>
          <p:nvPr/>
        </p:nvSpPr>
        <p:spPr>
          <a:xfrm>
            <a:off x="10018800" y="4112567"/>
            <a:ext cx="891900" cy="891900"/>
          </a:xfrm>
          <a:prstGeom prst="ellipse"/>
          <a:solidFill>
            <a:srgbClr val="305CBD"/>
          </a:solidFill>
          <a:ln>
            <a:noFill/>
          </a:ln>
        </p:spPr>
        <p:txBody>
          <a:bodyPr anchor="ctr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b="0" cap="none" sz="19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631" name="Google Shape;732;g19dcec343aa_7_0"/>
          <p:cNvSpPr txBox="1"/>
          <p:nvPr/>
        </p:nvSpPr>
        <p:spPr>
          <a:xfrm>
            <a:off x="8621999" y="2531775"/>
            <a:ext cx="36069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Data Pre-Processing</a:t>
            </a:r>
          </a:p>
        </p:txBody>
      </p:sp>
      <p:sp>
        <p:nvSpPr>
          <p:cNvPr id="1048632" name="Google Shape;733;g19dcec343aa_7_0"/>
          <p:cNvSpPr txBox="1"/>
          <p:nvPr/>
        </p:nvSpPr>
        <p:spPr>
          <a:xfrm>
            <a:off x="8850600" y="4986215"/>
            <a:ext cx="3228300" cy="5592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5CBB"/>
              </a:buClr>
              <a:buSzPts val="3700"/>
              <a:buFont typeface="Arial"/>
              <a:buNone/>
            </a:pPr>
            <a:r>
              <a:rPr b="0" cap="none" sz="2500" i="0" lang="en-ID" strike="noStrike" u="none">
                <a:solidFill>
                  <a:srgbClr val="305CBB"/>
                </a:solidFill>
                <a:latin typeface="Fredoka One"/>
                <a:ea typeface="Fredoka One"/>
                <a:cs typeface="Fredoka One"/>
                <a:sym typeface="Fredoka One"/>
              </a:rPr>
              <a:t>Summary &amp; Recommendation</a:t>
            </a:r>
          </a:p>
        </p:txBody>
      </p:sp>
      <p:sp>
        <p:nvSpPr>
          <p:cNvPr id="1048633" name="Google Shape;734;g19dcec343aa_7_0"/>
          <p:cNvSpPr txBox="1"/>
          <p:nvPr/>
        </p:nvSpPr>
        <p:spPr>
          <a:xfrm>
            <a:off x="10018400" y="1657628"/>
            <a:ext cx="8919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4</a:t>
            </a:r>
          </a:p>
        </p:txBody>
      </p:sp>
      <p:sp>
        <p:nvSpPr>
          <p:cNvPr id="1048634" name="Google Shape;735;g19dcec343aa_7_0"/>
          <p:cNvSpPr txBox="1"/>
          <p:nvPr/>
        </p:nvSpPr>
        <p:spPr>
          <a:xfrm>
            <a:off x="10018400" y="4112567"/>
            <a:ext cx="892500" cy="8919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CEE"/>
              </a:buClr>
              <a:buSzPts val="4000"/>
              <a:buFont typeface="Fredoka One"/>
              <a:buNone/>
            </a:pPr>
            <a:r>
              <a:rPr b="0" cap="none" sz="4000" i="0" lang="en-ID" strike="noStrike" u="none">
                <a:solidFill>
                  <a:srgbClr val="E7ECEE"/>
                </a:solidFill>
                <a:latin typeface="Fredoka One"/>
                <a:ea typeface="Fredoka One"/>
                <a:cs typeface="Fredoka One"/>
                <a:sym typeface="Fredoka One"/>
              </a:rPr>
              <a:t>08</a:t>
            </a:r>
          </a:p>
        </p:txBody>
      </p:sp>
      <p:grpSp>
        <p:nvGrpSpPr>
          <p:cNvPr id="151" name="Google Shape;736;g19dcec343aa_7_0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635" name="Google Shape;737;g19dcec343aa_7_0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800" i="0" strike="noStrike" u="none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36" name="Google Shape;738;g19dcec343aa_7_0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800" i="0" strike="noStrike" u="none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37" name="Google Shape;739;g19dcec343aa_7_0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800" i="0" strike="noStrike" u="none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38" name="Google Shape;740;g19dcec343aa_7_0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800" i="0" strike="noStrike" u="none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p14="http://schemas.microsoft.com/office/powerpoint/2010/main" spd="slow" p14:dur="2000">
        <p14:prism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29" name="Shape 1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86" name="Google Shape;1835;g19b32c0fc37_0_0"/>
          <p:cNvSpPr txBox="1"/>
          <p:nvPr/>
        </p:nvSpPr>
        <p:spPr>
          <a:xfrm>
            <a:off x="0" y="50464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ox Proportional Hazard (CPH) Model</a:t>
            </a:r>
          </a:p>
        </p:txBody>
      </p:sp>
      <p:grpSp>
        <p:nvGrpSpPr>
          <p:cNvPr id="330" name="Google Shape;1836;g19b32c0fc37_0_0"/>
          <p:cNvGrpSpPr/>
          <p:nvPr/>
        </p:nvGrpSpPr>
        <p:grpSpPr>
          <a:xfrm>
            <a:off x="5051661" y="1522525"/>
            <a:ext cx="5445900" cy="4043607"/>
            <a:chOff x="0" y="1512900"/>
            <a:chExt cx="5445900" cy="4043607"/>
          </a:xfrm>
        </p:grpSpPr>
        <p:pic>
          <p:nvPicPr>
            <p:cNvPr id="2097185" name="Google Shape;1837;g19b32c0fc37_0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1">
              <a:alphaModFix/>
            </a:blip>
            <a:srcRect r="1224"/>
            <a:stretch>
              <a:fillRect/>
            </a:stretch>
          </p:blipFill>
          <p:spPr>
            <a:xfrm>
              <a:off x="81814" y="1512900"/>
              <a:ext cx="5316888" cy="3650485"/>
            </a:xfrm>
            <a:prstGeom prst="rect"/>
            <a:noFill/>
            <a:ln>
              <a:noFill/>
            </a:ln>
          </p:spPr>
        </p:pic>
        <p:sp>
          <p:nvSpPr>
            <p:cNvPr id="1049587" name="Google Shape;1838;g19b32c0fc37_0_0"/>
            <p:cNvSpPr txBox="1"/>
            <p:nvPr/>
          </p:nvSpPr>
          <p:spPr>
            <a:xfrm>
              <a:off x="0" y="5106957"/>
              <a:ext cx="5445900" cy="449550"/>
            </a:xfrm>
            <a:prstGeom prst="rect"/>
            <a:noFill/>
            <a:ln>
              <a:noFill/>
            </a:ln>
          </p:spPr>
          <p:txBody>
            <a:bodyPr anchor="t" anchorCtr="0" bIns="91425" lIns="91425" rIns="91425" spcFirstLastPara="1" tIns="91425" wrap="square">
              <a:spAutoFit/>
            </a:bodyPr>
            <a:p>
              <a:pPr algn="ctr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50"/>
                <a:buFont typeface="Raleway"/>
                <a:buNone/>
              </a:pPr>
              <a:r>
                <a:rPr b="1" sz="125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The Brier Score</a:t>
              </a:r>
              <a:r>
                <a:rPr sz="125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 of our </a:t>
              </a:r>
              <a:r>
                <a:rPr b="1" sz="125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CPH Model is 0.11</a:t>
              </a:r>
              <a:r>
                <a:rPr sz="125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 at the end of </a:t>
              </a:r>
              <a:r>
                <a:rPr b="1" sz="125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60 months</a:t>
              </a:r>
              <a:endParaRPr b="1" sz="1600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588" name="Google Shape;1839;g19b32c0fc37_0_0"/>
          <p:cNvSpPr txBox="1"/>
          <p:nvPr/>
        </p:nvSpPr>
        <p:spPr>
          <a:xfrm>
            <a:off x="7796375" y="5703975"/>
            <a:ext cx="3890700" cy="568200"/>
          </a:xfrm>
          <a:prstGeom prst="rect"/>
          <a:noFill/>
          <a:ln w="28575" cap="flat" cmpd="sng">
            <a:solidFill>
              <a:srgbClr val="8BA8DB"/>
            </a:solidFill>
            <a:prstDash val="dash"/>
            <a:round/>
            <a:headEnd type="none" w="sm" len="sm"/>
            <a:tailEnd type="none" w="sm" len="sm"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13335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2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Predictions </a:t>
            </a:r>
            <a:r>
              <a:rPr sz="12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from the </a:t>
            </a:r>
            <a:r>
              <a:rPr b="1" sz="12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model up to 60 months </a:t>
            </a:r>
            <a:r>
              <a:rPr sz="12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are still </a:t>
            </a:r>
            <a:r>
              <a:rPr b="1" sz="1200" lang="en-ID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close to true values.</a:t>
            </a:r>
            <a:endParaRPr sz="9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2097186" name="Google Shape;1840;g19b32c0fc37_0_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10287289" flipH="1">
            <a:off x="7065791" y="5424518"/>
            <a:ext cx="683592" cy="683613"/>
          </a:xfrm>
          <a:prstGeom prst="rect"/>
          <a:noFill/>
          <a:ln>
            <a:noFill/>
          </a:ln>
        </p:spPr>
      </p:pic>
      <p:graphicFrame>
        <p:nvGraphicFramePr>
          <p:cNvPr id="4194308" name="Google Shape;1841;g19b32c0fc37_0_0"/>
          <p:cNvGraphicFramePr>
            <a:graphicFrameLocks/>
          </p:cNvGraphicFramePr>
          <p:nvPr/>
        </p:nvGraphicFramePr>
        <p:xfrm>
          <a:off x="2069796" y="1624801"/>
          <a:ext cx="2849075" cy="2799652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1386025"/>
                <a:gridCol w="1463050"/>
              </a:tblGrid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del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lifelines.CoxPHFitter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uration col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'Tenure'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Event col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'Churn'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Baseline estimation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breslow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Number of observations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5073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Number of events observed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841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Partial log-likelihood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-6296.226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Time fit was run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2022-11-19 08:47:34 UTC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del</a:t>
                      </a: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base model</a:t>
                      </a:r>
                      <a:endParaRPr cap="none" sz="90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194309" name="Google Shape;1842;g19b32c0fc37_0_0"/>
          <p:cNvGraphicFramePr>
            <a:graphicFrameLocks/>
          </p:cNvGraphicFramePr>
          <p:nvPr/>
        </p:nvGraphicFramePr>
        <p:xfrm>
          <a:off x="2069696" y="4424961"/>
          <a:ext cx="2849075" cy="1181100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1388625"/>
                <a:gridCol w="1460450"/>
              </a:tblGrid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Concordance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0.829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Partial AIC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2640.452</a:t>
                      </a:r>
                      <a:endParaRPr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og-likelihood ratio te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223.310 on 24 df</a:t>
                      </a:r>
                      <a:endParaRPr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29527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-log2(p) of ll-ratio te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CEE"/>
                    </a:solidFill>
                  </a:tcPr>
                </a:tc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oboto"/>
                        <a:buNone/>
                      </a:pPr>
                      <a:r>
                        <a:rPr cap="none" sz="9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805.834</a:t>
                      </a:r>
                      <a:endParaRPr cap="none" sz="9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  <p:sp>
        <p:nvSpPr>
          <p:cNvPr id="1049589" name="Google Shape;1843;g19b32c0fc37_0_0"/>
          <p:cNvSpPr/>
          <p:nvPr/>
        </p:nvSpPr>
        <p:spPr>
          <a:xfrm>
            <a:off x="1915964" y="4434585"/>
            <a:ext cx="3070200" cy="2337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590" name="Google Shape;1844;g19b32c0fc37_0_0"/>
          <p:cNvSpPr txBox="1"/>
          <p:nvPr/>
        </p:nvSpPr>
        <p:spPr>
          <a:xfrm>
            <a:off x="200025" y="3529425"/>
            <a:ext cx="1700400" cy="568200"/>
          </a:xfrm>
          <a:prstGeom prst="rect"/>
          <a:noFill/>
          <a:ln w="28575" cap="flat" cmpd="sng">
            <a:solidFill>
              <a:srgbClr val="8BA8DB"/>
            </a:solidFill>
            <a:prstDash val="dash"/>
            <a:round/>
            <a:headEnd type="none" w="sm" len="sm"/>
            <a:tailEnd type="none" w="sm" len="sm"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b="1" sz="1200" lang="en-ID" u="sng">
                <a:solidFill>
                  <a:srgbClr val="292929"/>
                </a:solidFill>
                <a:latin typeface="Raleway"/>
                <a:ea typeface="Raleway"/>
                <a:cs typeface="Raleway"/>
                <a:sym typeface="Raleway"/>
              </a:rPr>
              <a:t> AUC-ROC logistic regression</a:t>
            </a:r>
            <a:r>
              <a:rPr b="1" sz="900" lang="en-ID" u="sng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.</a:t>
            </a:r>
            <a:endParaRPr sz="9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2097187" name="Google Shape;1845;g19b32c0fc37_0_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5866108">
            <a:off x="1343142" y="3993568"/>
            <a:ext cx="683592" cy="683614"/>
          </a:xfrm>
          <a:prstGeom prst="rect"/>
          <a:noFill/>
          <a:ln>
            <a:noFill/>
          </a:ln>
        </p:spPr>
      </p:pic>
      <p:grpSp>
        <p:nvGrpSpPr>
          <p:cNvPr id="331" name="Google Shape;1846;g19b32c0fc37_0_0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591" name="Google Shape;1847;g19b32c0fc37_0_0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92" name="Google Shape;1848;g19b32c0fc37_0_0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93" name="Google Shape;1849;g19b32c0fc37_0_0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94" name="Google Shape;1850;g19b32c0fc37_0_0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95" name="Google Shape;1851;g19b32c0fc37_0_0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596" name="Google Shape;1852;g19b32c0fc37_0_0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597" name="Google Shape;1853;g19b32c0fc37_0_0"/>
          <p:cNvSpPr txBox="1"/>
          <p:nvPr/>
        </p:nvSpPr>
        <p:spPr>
          <a:xfrm>
            <a:off x="7672491" y="6734990"/>
            <a:ext cx="5281500" cy="1650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1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800" lang="en-ID">
                <a:solidFill>
                  <a:srgbClr val="13538A"/>
                </a:solidFill>
                <a:latin typeface="Barlow"/>
                <a:ea typeface="Barlow"/>
                <a:cs typeface="Barlow"/>
                <a:sym typeface="Barlow"/>
              </a:rPr>
              <a:t>https://towardsdatascience.com/how-to-not-predict-and-prevent-customer-churn-1097c0a1ef3b</a:t>
            </a:r>
            <a:endParaRPr b="1" sz="800">
              <a:solidFill>
                <a:srgbClr val="13538A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4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4194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000" id="10"/>
                                        <p:tgtEl>
                                          <p:spTgt spid="1049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2097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6"/>
                                        <p:tgtEl>
                                          <p:spTgt spid="1049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7">
                            <p:stCondLst>
                              <p:cond delay="5000"/>
                            </p:stCondLst>
                            <p:childTnLst>
                              <p:par>
                                <p:cTn fill="hold" id="18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20"/>
                                        <p:tgtEl>
                                          <p:spTgt spid="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000" id="23"/>
                                        <p:tgtEl>
                                          <p:spTgt spid="2097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6"/>
                                        <p:tgtEl>
                                          <p:spTgt spid="1049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34" name="Shape 1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88" name="Google Shape;1859;g19a6bfd5701_2_90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r="871"/>
          <a:stretch>
            <a:fillRect/>
          </a:stretch>
        </p:blipFill>
        <p:spPr>
          <a:xfrm>
            <a:off x="1719463" y="1496589"/>
            <a:ext cx="7922903" cy="4571573"/>
          </a:xfrm>
          <a:prstGeom prst="rect"/>
          <a:noFill/>
          <a:ln>
            <a:noFill/>
          </a:ln>
        </p:spPr>
      </p:pic>
      <p:sp>
        <p:nvSpPr>
          <p:cNvPr id="1049601" name="Google Shape;1860;g19a6bfd5701_2_907"/>
          <p:cNvSpPr txBox="1"/>
          <p:nvPr/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PH Model Visualization</a:t>
            </a:r>
          </a:p>
        </p:txBody>
      </p:sp>
      <p:grpSp>
        <p:nvGrpSpPr>
          <p:cNvPr id="335" name="Google Shape;1861;g19a6bfd5701_2_907"/>
          <p:cNvGrpSpPr/>
          <p:nvPr/>
        </p:nvGrpSpPr>
        <p:grpSpPr>
          <a:xfrm>
            <a:off x="415580" y="5703982"/>
            <a:ext cx="890783" cy="1193594"/>
            <a:chOff x="122038" y="7256930"/>
            <a:chExt cx="668104" cy="895218"/>
          </a:xfrm>
        </p:grpSpPr>
        <p:sp>
          <p:nvSpPr>
            <p:cNvPr id="1049602" name="Google Shape;1862;g19a6bfd5701_2_90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3" name="Google Shape;1863;g19a6bfd5701_2_90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4" name="Google Shape;1864;g19a6bfd5701_2_90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5" name="Google Shape;1865;g19a6bfd5701_2_90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6" name="Google Shape;1866;g19a6bfd5701_2_90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7" name="Google Shape;1867;g19a6bfd5701_2_90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36" name="Google Shape;1868;g19a6bfd5701_2_907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608" name="Google Shape;1869;g19a6bfd5701_2_90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09" name="Google Shape;1870;g19a6bfd5701_2_90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0" name="Google Shape;1871;g19a6bfd5701_2_90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1" name="Google Shape;1872;g19a6bfd5701_2_90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2" name="Google Shape;1873;g19a6bfd5701_2_90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3" name="Google Shape;1874;g19a6bfd5701_2_90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4" name="Google Shape;1875;g19a6bfd5701_2_90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5" name="Google Shape;1876;g19a6bfd5701_2_90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6" name="Google Shape;1877;g19a6bfd5701_2_90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7" name="Google Shape;1878;g19a6bfd5701_2_90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8" name="Google Shape;1879;g19a6bfd5701_2_90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19" name="Google Shape;1880;g19a6bfd5701_2_90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37" name="Google Shape;1881;g19a6bfd5701_2_907"/>
          <p:cNvGrpSpPr/>
          <p:nvPr/>
        </p:nvGrpSpPr>
        <p:grpSpPr>
          <a:xfrm>
            <a:off x="2137832" y="1893139"/>
            <a:ext cx="7577668" cy="600936"/>
            <a:chOff x="2137832" y="1893139"/>
            <a:chExt cx="7577668" cy="600936"/>
          </a:xfrm>
        </p:grpSpPr>
        <p:sp>
          <p:nvSpPr>
            <p:cNvPr id="1049620" name="Google Shape;1882;g19a6bfd5701_2_907"/>
            <p:cNvSpPr/>
            <p:nvPr/>
          </p:nvSpPr>
          <p:spPr>
            <a:xfrm>
              <a:off x="3109530" y="1893139"/>
              <a:ext cx="6605970" cy="141401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1" name="Google Shape;1883;g19a6bfd5701_2_907"/>
            <p:cNvSpPr/>
            <p:nvPr/>
          </p:nvSpPr>
          <p:spPr>
            <a:xfrm>
              <a:off x="2476500" y="2034540"/>
              <a:ext cx="7239000" cy="141401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2" name="Google Shape;1884;g19a6bfd5701_2_907"/>
            <p:cNvSpPr/>
            <p:nvPr/>
          </p:nvSpPr>
          <p:spPr>
            <a:xfrm>
              <a:off x="2137832" y="2175941"/>
              <a:ext cx="7577667" cy="183083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3" name="Google Shape;1885;g19a6bfd5701_2_907"/>
            <p:cNvSpPr/>
            <p:nvPr/>
          </p:nvSpPr>
          <p:spPr>
            <a:xfrm>
              <a:off x="2307167" y="2354040"/>
              <a:ext cx="7408332" cy="140035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38" name="Google Shape;1886;g19a6bfd5701_2_907"/>
          <p:cNvGrpSpPr/>
          <p:nvPr/>
        </p:nvGrpSpPr>
        <p:grpSpPr>
          <a:xfrm>
            <a:off x="2067034" y="4998275"/>
            <a:ext cx="7583800" cy="586235"/>
            <a:chOff x="2067034" y="4998275"/>
            <a:chExt cx="7583800" cy="586235"/>
          </a:xfrm>
        </p:grpSpPr>
        <p:sp>
          <p:nvSpPr>
            <p:cNvPr id="1049624" name="Google Shape;1887;g19a6bfd5701_2_907"/>
            <p:cNvSpPr/>
            <p:nvPr/>
          </p:nvSpPr>
          <p:spPr>
            <a:xfrm>
              <a:off x="2549634" y="5292075"/>
              <a:ext cx="7101199" cy="140036"/>
            </a:xfrm>
            <a:prstGeom prst="roundRect">
              <a:avLst>
                <a:gd name="adj" fmla="val 16667"/>
              </a:avLst>
            </a:prstGeom>
            <a:solidFill>
              <a:srgbClr val="548135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5" name="Google Shape;1888;g19a6bfd5701_2_907"/>
            <p:cNvSpPr/>
            <p:nvPr/>
          </p:nvSpPr>
          <p:spPr>
            <a:xfrm>
              <a:off x="2557282" y="5432111"/>
              <a:ext cx="7093551" cy="152399"/>
            </a:xfrm>
            <a:prstGeom prst="roundRect">
              <a:avLst>
                <a:gd name="adj" fmla="val 16667"/>
              </a:avLst>
            </a:prstGeom>
            <a:solidFill>
              <a:srgbClr val="548135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6" name="Google Shape;1889;g19a6bfd5701_2_907"/>
            <p:cNvSpPr/>
            <p:nvPr/>
          </p:nvSpPr>
          <p:spPr>
            <a:xfrm>
              <a:off x="2404534" y="5151507"/>
              <a:ext cx="7246300" cy="152399"/>
            </a:xfrm>
            <a:prstGeom prst="roundRect">
              <a:avLst>
                <a:gd name="adj" fmla="val 16667"/>
              </a:avLst>
            </a:prstGeom>
            <a:solidFill>
              <a:srgbClr val="548135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27" name="Google Shape;1890;g19a6bfd5701_2_907"/>
            <p:cNvSpPr/>
            <p:nvPr/>
          </p:nvSpPr>
          <p:spPr>
            <a:xfrm>
              <a:off x="2067034" y="4998275"/>
              <a:ext cx="7583799" cy="152399"/>
            </a:xfrm>
            <a:prstGeom prst="roundRect">
              <a:avLst>
                <a:gd name="adj" fmla="val 16667"/>
              </a:avLst>
            </a:prstGeom>
            <a:solidFill>
              <a:srgbClr val="548135">
                <a:alpha val="1490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628" name="Google Shape;1891;g19a6bfd5701_2_907"/>
          <p:cNvSpPr txBox="1"/>
          <p:nvPr/>
        </p:nvSpPr>
        <p:spPr>
          <a:xfrm>
            <a:off x="100401" y="2958288"/>
            <a:ext cx="1462794" cy="6755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Feature</a:t>
            </a:r>
            <a:r>
              <a:rPr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 that generates </a:t>
            </a: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churn</a:t>
            </a:r>
          </a:p>
        </p:txBody>
      </p:sp>
      <p:pic>
        <p:nvPicPr>
          <p:cNvPr id="2097189" name="Google Shape;1892;g19a6bfd5701_2_907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4334471" flipH="1">
            <a:off x="1056695" y="2207144"/>
            <a:ext cx="1068191" cy="928229"/>
          </a:xfrm>
          <a:prstGeom prst="rect"/>
          <a:noFill/>
          <a:ln>
            <a:noFill/>
          </a:ln>
        </p:spPr>
      </p:pic>
      <p:sp>
        <p:nvSpPr>
          <p:cNvPr id="1049629" name="Google Shape;1893;g19a6bfd5701_2_907"/>
          <p:cNvSpPr txBox="1"/>
          <p:nvPr/>
        </p:nvSpPr>
        <p:spPr>
          <a:xfrm>
            <a:off x="9941904" y="3881014"/>
            <a:ext cx="2124075" cy="6755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Feature </a:t>
            </a:r>
            <a:r>
              <a:rPr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that generates </a:t>
            </a:r>
            <a:r>
              <a:rPr b="1" sz="1100" lang="en-ID">
                <a:solidFill>
                  <a:schemeClr val="dk1"/>
                </a:solidFill>
                <a:highlight>
                  <a:srgbClr val="E7ECEE"/>
                </a:highlight>
                <a:latin typeface="Roboto"/>
                <a:ea typeface="Roboto"/>
                <a:cs typeface="Roboto"/>
                <a:sym typeface="Roboto"/>
              </a:rPr>
              <a:t>retention</a:t>
            </a:r>
          </a:p>
        </p:txBody>
      </p:sp>
      <p:pic>
        <p:nvPicPr>
          <p:cNvPr id="2097190" name="Google Shape;1894;g19a6bfd5701_2_907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6892195" flipH="1">
            <a:off x="9664764" y="4483271"/>
            <a:ext cx="1068191" cy="928229"/>
          </a:xfrm>
          <a:prstGeom prst="rect"/>
          <a:noFill/>
          <a:ln>
            <a:noFill/>
          </a:ln>
        </p:spPr>
      </p:pic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7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4">
                            <p:stCondLst>
                              <p:cond delay="5000"/>
                            </p:stCondLst>
                            <p:childTnLst>
                              <p:par>
                                <p:cTn fill="hold" id="1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0" id="17"/>
                                        <p:tgtEl>
                                          <p:spTgt spid="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0"/>
                                        <p:tgtEl>
                                          <p:spTgt spid="2097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3"/>
                                        <p:tgtEl>
                                          <p:spTgt spid="1049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4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33" name="Google Shape;1900;g19a6bfd5701_2_947"/>
          <p:cNvSpPr txBox="1"/>
          <p:nvPr/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hurn Prediction and Preven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191" name="Google Shape;1901;g19a6bfd5701_2_94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t="4934"/>
          <a:stretch>
            <a:fillRect/>
          </a:stretch>
        </p:blipFill>
        <p:spPr>
          <a:xfrm>
            <a:off x="2039106" y="1481027"/>
            <a:ext cx="8113719" cy="5130149"/>
          </a:xfrm>
          <a:prstGeom prst="rect"/>
          <a:noFill/>
          <a:ln>
            <a:noFill/>
          </a:ln>
        </p:spPr>
      </p:pic>
      <p:sp>
        <p:nvSpPr>
          <p:cNvPr id="1049634" name="Google Shape;1902;g19a6bfd5701_2_947"/>
          <p:cNvSpPr txBox="1"/>
          <p:nvPr/>
        </p:nvSpPr>
        <p:spPr>
          <a:xfrm>
            <a:off x="10074443" y="1491865"/>
            <a:ext cx="2117558" cy="49780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ustomer Survival Chance</a:t>
            </a:r>
            <a:endParaRPr sz="14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635" name="Google Shape;1903;g19a6bfd5701_2_947"/>
          <p:cNvSpPr txBox="1"/>
          <p:nvPr/>
        </p:nvSpPr>
        <p:spPr>
          <a:xfrm>
            <a:off x="10113634" y="2018163"/>
            <a:ext cx="2117700" cy="954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</a:t>
            </a:r>
            <a:r>
              <a:rPr b="1"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mplaint </a:t>
            </a: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ve </a:t>
            </a:r>
            <a:r>
              <a:rPr b="1" sz="2800" lang="en-ID">
                <a:solidFill>
                  <a:schemeClr val="dk1"/>
                </a:solidFill>
                <a:highlight>
                  <a:srgbClr val="6D9EEB"/>
                </a:highlight>
                <a:latin typeface="Calibri"/>
                <a:ea typeface="Calibri"/>
                <a:cs typeface="Calibri"/>
                <a:sym typeface="Calibri"/>
              </a:rPr>
              <a:t>89%</a:t>
            </a:r>
            <a:r>
              <a:rPr sz="1800" lang="en-ID">
                <a:solidFill>
                  <a:schemeClr val="dk1"/>
                </a:solidFill>
                <a:highlight>
                  <a:srgbClr val="E7ECEE"/>
                </a:highlight>
                <a:latin typeface="Calibri"/>
                <a:ea typeface="Calibri"/>
                <a:cs typeface="Calibri"/>
                <a:sym typeface="Calibri"/>
              </a:rPr>
              <a:t> </a:t>
            </a:r>
            <a:endParaRPr sz="1800">
              <a:solidFill>
                <a:schemeClr val="dk1"/>
              </a:solidFill>
              <a:highlight>
                <a:srgbClr val="E7ECEE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636" name="Google Shape;1904;g19a6bfd5701_2_947"/>
          <p:cNvSpPr txBox="1"/>
          <p:nvPr/>
        </p:nvSpPr>
        <p:spPr>
          <a:xfrm>
            <a:off x="10316834" y="3223598"/>
            <a:ext cx="1741800" cy="866101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laint</a:t>
            </a: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have </a:t>
            </a:r>
            <a:r>
              <a:rPr b="1" sz="2800" lang="en-ID">
                <a:solidFill>
                  <a:schemeClr val="dk1"/>
                </a:solidFill>
                <a:highlight>
                  <a:srgbClr val="FF9900"/>
                </a:highlight>
                <a:latin typeface="Calibri"/>
                <a:ea typeface="Calibri"/>
                <a:cs typeface="Calibri"/>
                <a:sym typeface="Calibri"/>
              </a:rPr>
              <a:t>68%</a:t>
            </a:r>
            <a:endParaRPr b="1" sz="1800">
              <a:solidFill>
                <a:schemeClr val="dk1"/>
              </a:solidFill>
              <a:highlight>
                <a:srgbClr val="FF9900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42" name="Google Shape;1905;g19a6bfd5701_2_947"/>
          <p:cNvGrpSpPr/>
          <p:nvPr/>
        </p:nvGrpSpPr>
        <p:grpSpPr>
          <a:xfrm>
            <a:off x="1107539" y="5177148"/>
            <a:ext cx="803247" cy="1077958"/>
            <a:chOff x="955072" y="5195116"/>
            <a:chExt cx="803247" cy="1077958"/>
          </a:xfrm>
        </p:grpSpPr>
        <p:sp>
          <p:nvSpPr>
            <p:cNvPr id="1049637" name="Google Shape;1906;g19a6bfd5701_2_947"/>
            <p:cNvSpPr txBox="1"/>
            <p:nvPr/>
          </p:nvSpPr>
          <p:spPr>
            <a:xfrm>
              <a:off x="955072" y="5195116"/>
              <a:ext cx="777875" cy="390093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5%</a:t>
              </a:r>
            </a:p>
          </p:txBody>
        </p:sp>
        <p:sp>
          <p:nvSpPr>
            <p:cNvPr id="1049638" name="Google Shape;1907;g19a6bfd5701_2_947"/>
            <p:cNvSpPr txBox="1"/>
            <p:nvPr/>
          </p:nvSpPr>
          <p:spPr>
            <a:xfrm>
              <a:off x="980444" y="5585210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75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639" name="Google Shape;1908;g19a6bfd5701_2_947"/>
            <p:cNvSpPr txBox="1"/>
            <p:nvPr/>
          </p:nvSpPr>
          <p:spPr>
            <a:xfrm>
              <a:off x="964542" y="5903742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10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640" name="Google Shape;1909;g19a6bfd5701_2_947"/>
          <p:cNvSpPr/>
          <p:nvPr/>
        </p:nvSpPr>
        <p:spPr>
          <a:xfrm>
            <a:off x="1758414" y="5397523"/>
            <a:ext cx="193484" cy="735531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43" name="Google Shape;1910;g19a6bfd5701_2_947"/>
          <p:cNvGrpSpPr/>
          <p:nvPr/>
        </p:nvGrpSpPr>
        <p:grpSpPr>
          <a:xfrm>
            <a:off x="2077606" y="5533069"/>
            <a:ext cx="3187446" cy="386151"/>
            <a:chOff x="2077606" y="5647369"/>
            <a:chExt cx="3187446" cy="386151"/>
          </a:xfrm>
        </p:grpSpPr>
        <p:sp>
          <p:nvSpPr>
            <p:cNvPr id="1049641" name="Google Shape;1911;g19a6bfd5701_2_947"/>
            <p:cNvSpPr/>
            <p:nvPr/>
          </p:nvSpPr>
          <p:spPr>
            <a:xfrm>
              <a:off x="2077606" y="5666620"/>
              <a:ext cx="521100" cy="366900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28630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42" name="Google Shape;1912;g19a6bfd5701_2_947"/>
            <p:cNvSpPr/>
            <p:nvPr/>
          </p:nvSpPr>
          <p:spPr>
            <a:xfrm>
              <a:off x="4838452" y="5647369"/>
              <a:ext cx="426600" cy="366900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28627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64" name="Google Shape;1913;g19a6bfd5701_2_947"/>
            <p:cNvCxnSpPr>
              <a:cxnSpLocks/>
              <a:stCxn id="1049641" idx="3"/>
              <a:endCxn id="1049642" idx="1"/>
            </p:cNvCxnSpPr>
            <p:nvPr/>
          </p:nvCxnSpPr>
          <p:spPr>
            <a:xfrm rot="10800000" flipH="1">
              <a:off x="2598706" y="5830870"/>
              <a:ext cx="2239800" cy="19200"/>
            </a:xfrm>
            <a:prstGeom prst="straightConnector1"/>
            <a:noFill/>
            <a:ln w="19050" cap="flat" cmpd="sng">
              <a:solidFill>
                <a:schemeClr val="accent6">
                  <a:alpha val="4196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44" name="Google Shape;1914;g19a6bfd5701_2_947"/>
          <p:cNvGrpSpPr/>
          <p:nvPr/>
        </p:nvGrpSpPr>
        <p:grpSpPr>
          <a:xfrm>
            <a:off x="2077606" y="6094337"/>
            <a:ext cx="3187413" cy="386140"/>
            <a:chOff x="2077606" y="5647369"/>
            <a:chExt cx="3187413" cy="386140"/>
          </a:xfrm>
        </p:grpSpPr>
        <p:sp>
          <p:nvSpPr>
            <p:cNvPr id="1049643" name="Google Shape;1915;g19a6bfd5701_2_947"/>
            <p:cNvSpPr/>
            <p:nvPr/>
          </p:nvSpPr>
          <p:spPr>
            <a:xfrm>
              <a:off x="2077606" y="5666620"/>
              <a:ext cx="521214" cy="366889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44" name="Google Shape;1916;g19a6bfd5701_2_947"/>
            <p:cNvSpPr/>
            <p:nvPr/>
          </p:nvSpPr>
          <p:spPr>
            <a:xfrm>
              <a:off x="4838452" y="5647369"/>
              <a:ext cx="426567" cy="366889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65" name="Google Shape;1917;g19a6bfd5701_2_947"/>
            <p:cNvCxnSpPr>
              <a:cxnSpLocks/>
              <a:stCxn id="1049643" idx="3"/>
              <a:endCxn id="1049644" idx="1"/>
            </p:cNvCxnSpPr>
            <p:nvPr/>
          </p:nvCxnSpPr>
          <p:spPr>
            <a:xfrm rot="10800000" flipH="1">
              <a:off x="2598820" y="5830865"/>
              <a:ext cx="2239500" cy="19200"/>
            </a:xfrm>
            <a:prstGeom prst="straightConnector1"/>
            <a:noFill/>
            <a:ln w="19050" cap="flat" cmpd="sng">
              <a:solidFill>
                <a:schemeClr val="accent2">
                  <a:alpha val="49803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45" name="Google Shape;1918;g19a6bfd5701_2_947"/>
          <p:cNvGrpSpPr/>
          <p:nvPr/>
        </p:nvGrpSpPr>
        <p:grpSpPr>
          <a:xfrm>
            <a:off x="10191325" y="5665744"/>
            <a:ext cx="797890" cy="1077956"/>
            <a:chOff x="960429" y="5195118"/>
            <a:chExt cx="797890" cy="1077956"/>
          </a:xfrm>
        </p:grpSpPr>
        <p:sp>
          <p:nvSpPr>
            <p:cNvPr id="1049645" name="Google Shape;1919;g19a6bfd5701_2_947"/>
            <p:cNvSpPr txBox="1"/>
            <p:nvPr/>
          </p:nvSpPr>
          <p:spPr>
            <a:xfrm>
              <a:off x="960429" y="5195118"/>
              <a:ext cx="777875" cy="3446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5%</a:t>
              </a:r>
            </a:p>
          </p:txBody>
        </p:sp>
        <p:sp>
          <p:nvSpPr>
            <p:cNvPr id="1049646" name="Google Shape;1920;g19a6bfd5701_2_947"/>
            <p:cNvSpPr txBox="1"/>
            <p:nvPr/>
          </p:nvSpPr>
          <p:spPr>
            <a:xfrm>
              <a:off x="980444" y="5585210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56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647" name="Google Shape;1921;g19a6bfd5701_2_947"/>
            <p:cNvSpPr txBox="1"/>
            <p:nvPr/>
          </p:nvSpPr>
          <p:spPr>
            <a:xfrm>
              <a:off x="964542" y="5903742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29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648" name="Google Shape;1922;g19a6bfd5701_2_947"/>
          <p:cNvSpPr/>
          <p:nvPr/>
        </p:nvSpPr>
        <p:spPr>
          <a:xfrm flipH="1">
            <a:off x="9959341" y="5887340"/>
            <a:ext cx="193484" cy="735531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66" name="Google Shape;1923;g19a6bfd5701_2_947"/>
          <p:cNvCxnSpPr>
            <a:cxnSpLocks/>
          </p:cNvCxnSpPr>
          <p:nvPr/>
        </p:nvCxnSpPr>
        <p:spPr>
          <a:xfrm rot="10800000" flipH="1">
            <a:off x="5230121" y="6255106"/>
            <a:ext cx="4668200" cy="3198"/>
          </a:xfrm>
          <a:prstGeom prst="straightConnector1"/>
          <a:noFill/>
          <a:ln w="19050" cap="flat" cmpd="sng">
            <a:solidFill>
              <a:schemeClr val="accent2">
                <a:alpha val="49803"/>
              </a:schemeClr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049649" name="Google Shape;1924;g19a6bfd5701_2_947"/>
          <p:cNvSpPr/>
          <p:nvPr/>
        </p:nvSpPr>
        <p:spPr>
          <a:xfrm>
            <a:off x="2743042" y="1481027"/>
            <a:ext cx="2623042" cy="3963196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46" name="Google Shape;1925;g19a6bfd5701_2_947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650" name="Google Shape;1926;g19a6bfd5701_2_94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51" name="Google Shape;1927;g19a6bfd5701_2_94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52" name="Google Shape;1928;g19a6bfd5701_2_94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53" name="Google Shape;1929;g19a6bfd5701_2_94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54" name="Google Shape;1930;g19a6bfd5701_2_94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55" name="Google Shape;1931;g19a6bfd5701_2_94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500" id="7"/>
                                        <p:tgtEl>
                                          <p:spTgt spid="1049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6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6"/>
                                        <p:tgtEl>
                                          <p:spTgt spid="10496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600" id="19"/>
                                        <p:tgtEl>
                                          <p:spTgt spid="10496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5"/>
                                        <p:tgtEl>
                                          <p:spTgt spid="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8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1"/>
                                        <p:tgtEl>
                                          <p:spTgt spid="1049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31457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7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49" name="Shape 1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59" name="Google Shape;1937;g19a6bfd5701_2_976"/>
          <p:cNvSpPr txBox="1"/>
          <p:nvPr/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hurn Prediction and Preven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192" name="Google Shape;1938;g19a6bfd5701_2_976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1209647" y="1330364"/>
            <a:ext cx="8101569" cy="5359799"/>
          </a:xfrm>
          <a:prstGeom prst="rect"/>
          <a:noFill/>
          <a:ln>
            <a:noFill/>
          </a:ln>
        </p:spPr>
      </p:pic>
      <p:grpSp>
        <p:nvGrpSpPr>
          <p:cNvPr id="350" name="Google Shape;1939;g19a6bfd5701_2_976"/>
          <p:cNvGrpSpPr/>
          <p:nvPr/>
        </p:nvGrpSpPr>
        <p:grpSpPr>
          <a:xfrm flipH="1">
            <a:off x="10570439" y="5081327"/>
            <a:ext cx="1359323" cy="1838946"/>
            <a:chOff x="3231057" y="5846468"/>
            <a:chExt cx="1701919" cy="2302424"/>
          </a:xfrm>
        </p:grpSpPr>
        <p:sp>
          <p:nvSpPr>
            <p:cNvPr id="1049660" name="Google Shape;1940;g19a6bfd5701_2_976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1" name="Google Shape;1941;g19a6bfd5701_2_976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2" name="Google Shape;1942;g19a6bfd5701_2_976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3" name="Google Shape;1943;g19a6bfd5701_2_976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4" name="Google Shape;1944;g19a6bfd5701_2_976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5" name="Google Shape;1945;g19a6bfd5701_2_976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6" name="Google Shape;1946;g19a6bfd5701_2_976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7" name="Google Shape;1947;g19a6bfd5701_2_976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8" name="Google Shape;1948;g19a6bfd5701_2_976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69" name="Google Shape;1949;g19a6bfd5701_2_976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70" name="Google Shape;1950;g19a6bfd5701_2_976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71" name="Google Shape;1951;g19a6bfd5701_2_976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672" name="Google Shape;1952;g19a6bfd5701_2_976"/>
          <p:cNvSpPr txBox="1"/>
          <p:nvPr/>
        </p:nvSpPr>
        <p:spPr>
          <a:xfrm>
            <a:off x="9244428" y="1582045"/>
            <a:ext cx="2930405" cy="584775"/>
          </a:xfrm>
          <a:prstGeom prst="rect"/>
          <a:solidFill>
            <a:srgbClr val="E5EBED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ustomer Survival chance </a:t>
            </a:r>
            <a:r>
              <a:rPr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in </a:t>
            </a:r>
            <a:r>
              <a:rPr b="1" sz="16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Marital Status </a:t>
            </a:r>
          </a:p>
        </p:txBody>
      </p:sp>
      <p:grpSp>
        <p:nvGrpSpPr>
          <p:cNvPr id="351" name="Google Shape;1953;g19a6bfd5701_2_976"/>
          <p:cNvGrpSpPr/>
          <p:nvPr/>
        </p:nvGrpSpPr>
        <p:grpSpPr>
          <a:xfrm>
            <a:off x="9191715" y="2218353"/>
            <a:ext cx="2930400" cy="2026673"/>
            <a:chOff x="8803095" y="2218353"/>
            <a:chExt cx="2930400" cy="2026673"/>
          </a:xfrm>
        </p:grpSpPr>
        <p:sp>
          <p:nvSpPr>
            <p:cNvPr id="1049673" name="Google Shape;1954;g19a6bfd5701_2_976"/>
            <p:cNvSpPr txBox="1"/>
            <p:nvPr/>
          </p:nvSpPr>
          <p:spPr>
            <a:xfrm>
              <a:off x="8803095" y="2218353"/>
              <a:ext cx="29304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4A86E8"/>
                  </a:highlight>
                  <a:latin typeface="Calibri"/>
                  <a:ea typeface="Calibri"/>
                  <a:cs typeface="Calibri"/>
                  <a:sym typeface="Calibri"/>
                </a:rPr>
                <a:t>88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Married</a:t>
              </a:r>
            </a:p>
          </p:txBody>
        </p:sp>
        <p:sp>
          <p:nvSpPr>
            <p:cNvPr id="1049674" name="Google Shape;1955;g19a6bfd5701_2_976"/>
            <p:cNvSpPr txBox="1"/>
            <p:nvPr/>
          </p:nvSpPr>
          <p:spPr>
            <a:xfrm>
              <a:off x="8803095" y="2893235"/>
              <a:ext cx="29304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FF9900"/>
                  </a:highlight>
                  <a:latin typeface="Calibri"/>
                  <a:ea typeface="Calibri"/>
                  <a:cs typeface="Calibri"/>
                  <a:sym typeface="Calibri"/>
                </a:rPr>
                <a:t>85%</a:t>
              </a:r>
              <a:r>
                <a:rPr b="1" cap="none" sz="1800" i="0" lang="en-ID" strike="noStrike" u="none">
                  <a:solidFill>
                    <a:schemeClr val="dk1"/>
                  </a:solidFill>
                  <a:highlight>
                    <a:srgbClr val="FF9900"/>
                  </a:highlight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of Divorced</a:t>
              </a:r>
            </a:p>
          </p:txBody>
        </p:sp>
        <p:sp>
          <p:nvSpPr>
            <p:cNvPr id="1049675" name="Google Shape;1956;g19a6bfd5701_2_976"/>
            <p:cNvSpPr txBox="1"/>
            <p:nvPr/>
          </p:nvSpPr>
          <p:spPr>
            <a:xfrm>
              <a:off x="8823006" y="3598526"/>
              <a:ext cx="26403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93C47D"/>
                  </a:highlight>
                  <a:latin typeface="Calibri"/>
                  <a:ea typeface="Calibri"/>
                  <a:cs typeface="Calibri"/>
                  <a:sym typeface="Calibri"/>
                </a:rPr>
                <a:t>73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Single</a:t>
              </a:r>
            </a:p>
          </p:txBody>
        </p:sp>
      </p:grpSp>
      <p:grpSp>
        <p:nvGrpSpPr>
          <p:cNvPr id="352" name="Google Shape;1957;g19a6bfd5701_2_976"/>
          <p:cNvGrpSpPr/>
          <p:nvPr/>
        </p:nvGrpSpPr>
        <p:grpSpPr>
          <a:xfrm>
            <a:off x="1275045" y="5069295"/>
            <a:ext cx="3151317" cy="374108"/>
            <a:chOff x="2077606" y="5659401"/>
            <a:chExt cx="3151317" cy="374108"/>
          </a:xfrm>
        </p:grpSpPr>
        <p:sp>
          <p:nvSpPr>
            <p:cNvPr id="1049676" name="Google Shape;1958;g19a6bfd5701_2_976"/>
            <p:cNvSpPr/>
            <p:nvPr/>
          </p:nvSpPr>
          <p:spPr>
            <a:xfrm>
              <a:off x="2077606" y="5666620"/>
              <a:ext cx="521214" cy="366889"/>
            </a:xfrm>
            <a:prstGeom prst="roundRect">
              <a:avLst>
                <a:gd name="adj" fmla="val 16667"/>
              </a:avLst>
            </a:prstGeom>
            <a:solidFill>
              <a:srgbClr val="305CBB">
                <a:alpha val="2392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77" name="Google Shape;1959;g19a6bfd5701_2_976"/>
            <p:cNvSpPr/>
            <p:nvPr/>
          </p:nvSpPr>
          <p:spPr>
            <a:xfrm>
              <a:off x="4802356" y="5659401"/>
              <a:ext cx="426567" cy="366889"/>
            </a:xfrm>
            <a:prstGeom prst="roundRect">
              <a:avLst>
                <a:gd name="adj" fmla="val 16667"/>
              </a:avLst>
            </a:prstGeom>
            <a:solidFill>
              <a:srgbClr val="305CBB">
                <a:alpha val="2392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67" name="Google Shape;1960;g19a6bfd5701_2_976"/>
            <p:cNvCxnSpPr>
              <a:cxnSpLocks/>
              <a:stCxn id="1049676" idx="3"/>
              <a:endCxn id="1049677" idx="1"/>
            </p:cNvCxnSpPr>
            <p:nvPr/>
          </p:nvCxnSpPr>
          <p:spPr>
            <a:xfrm rot="10800000" flipH="1">
              <a:off x="2598820" y="5842865"/>
              <a:ext cx="2203500" cy="7200"/>
            </a:xfrm>
            <a:prstGeom prst="straightConnector1"/>
            <a:noFill/>
            <a:ln w="19050" cap="flat" cmpd="sng">
              <a:solidFill>
                <a:schemeClr val="accent6">
                  <a:alpha val="4196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53" name="Google Shape;1961;g19a6bfd5701_2_976"/>
          <p:cNvGrpSpPr/>
          <p:nvPr/>
        </p:nvGrpSpPr>
        <p:grpSpPr>
          <a:xfrm>
            <a:off x="436203" y="4687124"/>
            <a:ext cx="803247" cy="1077958"/>
            <a:chOff x="955072" y="5195116"/>
            <a:chExt cx="803247" cy="1077958"/>
          </a:xfrm>
        </p:grpSpPr>
        <p:sp>
          <p:nvSpPr>
            <p:cNvPr id="1049678" name="Google Shape;1962;g19a6bfd5701_2_976"/>
            <p:cNvSpPr txBox="1"/>
            <p:nvPr/>
          </p:nvSpPr>
          <p:spPr>
            <a:xfrm>
              <a:off x="955072" y="5195116"/>
              <a:ext cx="777875" cy="390093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5%</a:t>
              </a:r>
            </a:p>
          </p:txBody>
        </p:sp>
        <p:sp>
          <p:nvSpPr>
            <p:cNvPr id="1049679" name="Google Shape;1963;g19a6bfd5701_2_976"/>
            <p:cNvSpPr txBox="1"/>
            <p:nvPr/>
          </p:nvSpPr>
          <p:spPr>
            <a:xfrm>
              <a:off x="980444" y="5585210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75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680" name="Google Shape;1964;g19a6bfd5701_2_976"/>
            <p:cNvSpPr txBox="1"/>
            <p:nvPr/>
          </p:nvSpPr>
          <p:spPr>
            <a:xfrm>
              <a:off x="964542" y="5903742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14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681" name="Google Shape;1965;g19a6bfd5701_2_976"/>
          <p:cNvSpPr/>
          <p:nvPr/>
        </p:nvSpPr>
        <p:spPr>
          <a:xfrm>
            <a:off x="1087078" y="4907499"/>
            <a:ext cx="193484" cy="735531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9CC2E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682" name="Google Shape;1966;g19a6bfd5701_2_976"/>
          <p:cNvSpPr/>
          <p:nvPr/>
        </p:nvSpPr>
        <p:spPr>
          <a:xfrm>
            <a:off x="1769934" y="1589953"/>
            <a:ext cx="2790035" cy="3411638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305CBB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4" name="Google Shape;1967;g19a6bfd5701_2_976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683" name="Google Shape;1968;g19a6bfd5701_2_976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84" name="Google Shape;1969;g19a6bfd5701_2_976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85" name="Google Shape;1970;g19a6bfd5701_2_976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86" name="Google Shape;1971;g19a6bfd5701_2_976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87" name="Google Shape;1972;g19a6bfd5701_2_976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688" name="Google Shape;1973;g19a6bfd5701_2_976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55" name="Google Shape;1974;g19a6bfd5701_2_976"/>
          <p:cNvGrpSpPr/>
          <p:nvPr/>
        </p:nvGrpSpPr>
        <p:grpSpPr>
          <a:xfrm>
            <a:off x="1315606" y="6170537"/>
            <a:ext cx="3187446" cy="386151"/>
            <a:chOff x="2077606" y="5647369"/>
            <a:chExt cx="3187446" cy="386151"/>
          </a:xfrm>
        </p:grpSpPr>
        <p:sp>
          <p:nvSpPr>
            <p:cNvPr id="1049689" name="Google Shape;1975;g19a6bfd5701_2_976"/>
            <p:cNvSpPr/>
            <p:nvPr/>
          </p:nvSpPr>
          <p:spPr>
            <a:xfrm>
              <a:off x="2077606" y="5666620"/>
              <a:ext cx="5211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690" name="Google Shape;1976;g19a6bfd5701_2_976"/>
            <p:cNvSpPr/>
            <p:nvPr/>
          </p:nvSpPr>
          <p:spPr>
            <a:xfrm>
              <a:off x="4838452" y="5647369"/>
              <a:ext cx="4266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68" name="Google Shape;1977;g19a6bfd5701_2_976"/>
            <p:cNvCxnSpPr>
              <a:cxnSpLocks/>
              <a:stCxn id="1049689" idx="3"/>
              <a:endCxn id="1049690" idx="1"/>
            </p:cNvCxnSpPr>
            <p:nvPr/>
          </p:nvCxnSpPr>
          <p:spPr>
            <a:xfrm rot="10800000" flipH="1">
              <a:off x="2598706" y="5830870"/>
              <a:ext cx="2239800" cy="19200"/>
            </a:xfrm>
            <a:prstGeom prst="straightConnector1"/>
            <a:noFill/>
            <a:ln w="19050" cap="flat" cmpd="sng">
              <a:solidFill>
                <a:schemeClr val="accent2">
                  <a:alpha val="498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56" name="Google Shape;1978;g19a6bfd5701_2_976"/>
          <p:cNvGrpSpPr/>
          <p:nvPr/>
        </p:nvGrpSpPr>
        <p:grpSpPr>
          <a:xfrm>
            <a:off x="9368425" y="5717682"/>
            <a:ext cx="797915" cy="1077924"/>
            <a:chOff x="960429" y="5195118"/>
            <a:chExt cx="797915" cy="1077924"/>
          </a:xfrm>
        </p:grpSpPr>
        <p:sp>
          <p:nvSpPr>
            <p:cNvPr id="1049691" name="Google Shape;1979;g19a6bfd5701_2_976"/>
            <p:cNvSpPr txBox="1"/>
            <p:nvPr/>
          </p:nvSpPr>
          <p:spPr>
            <a:xfrm>
              <a:off x="960429" y="5195118"/>
              <a:ext cx="777900" cy="3447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</a:t>
              </a:r>
              <a:r>
                <a:rPr b="1" sz="1800" lang="en-ID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</a:t>
              </a: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%</a:t>
              </a:r>
            </a:p>
          </p:txBody>
        </p:sp>
        <p:sp>
          <p:nvSpPr>
            <p:cNvPr id="1049692" name="Google Shape;1980;g19a6bfd5701_2_976"/>
            <p:cNvSpPr txBox="1"/>
            <p:nvPr/>
          </p:nvSpPr>
          <p:spPr>
            <a:xfrm>
              <a:off x="980444" y="5585210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63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693" name="Google Shape;1981;g19a6bfd5701_2_976"/>
            <p:cNvSpPr txBox="1"/>
            <p:nvPr/>
          </p:nvSpPr>
          <p:spPr>
            <a:xfrm>
              <a:off x="964542" y="5903742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26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694" name="Google Shape;1982;g19a6bfd5701_2_976"/>
          <p:cNvSpPr/>
          <p:nvPr/>
        </p:nvSpPr>
        <p:spPr>
          <a:xfrm flipH="1">
            <a:off x="9136425" y="5939278"/>
            <a:ext cx="193500" cy="735600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69" name="Google Shape;1983;g19a6bfd5701_2_976"/>
          <p:cNvCxnSpPr>
            <a:cxnSpLocks/>
          </p:cNvCxnSpPr>
          <p:nvPr/>
        </p:nvCxnSpPr>
        <p:spPr>
          <a:xfrm rot="10800000" flipH="1">
            <a:off x="4468121" y="6331204"/>
            <a:ext cx="4668300" cy="3300"/>
          </a:xfrm>
          <a:prstGeom prst="straightConnector1"/>
          <a:noFill/>
          <a:ln w="19050" cap="flat" cmpd="sng">
            <a:solidFill>
              <a:schemeClr val="accent2">
                <a:alpha val="49800"/>
              </a:schemeClr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700" id="7"/>
                                        <p:tgtEl>
                                          <p:spTgt spid="10496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" id="16"/>
                                        <p:tgtEl>
                                          <p:spTgt spid="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9"/>
                                        <p:tgtEl>
                                          <p:spTgt spid="10496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5"/>
                                        <p:tgtEl>
                                          <p:spTgt spid="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8"/>
                                        <p:tgtEl>
                                          <p:spTgt spid="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1"/>
                                        <p:tgtEl>
                                          <p:spTgt spid="31457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10496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59" name="Shape 1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98" name="Google Shape;1989;g19a6bfd5701_2_1017"/>
          <p:cNvSpPr txBox="1"/>
          <p:nvPr/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hurn Prediction and Preven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193" name="Google Shape;1990;g19a6bfd5701_2_101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934235" y="1289139"/>
            <a:ext cx="8217367" cy="5407424"/>
          </a:xfrm>
          <a:prstGeom prst="rect"/>
          <a:noFill/>
          <a:ln>
            <a:noFill/>
          </a:ln>
        </p:spPr>
      </p:pic>
      <p:sp>
        <p:nvSpPr>
          <p:cNvPr id="1049699" name="Google Shape;1991;g19a6bfd5701_2_1017"/>
          <p:cNvSpPr txBox="1"/>
          <p:nvPr/>
        </p:nvSpPr>
        <p:spPr>
          <a:xfrm>
            <a:off x="9083842" y="1548192"/>
            <a:ext cx="3108158" cy="497801"/>
          </a:xfrm>
          <a:prstGeom prst="rect"/>
          <a:solidFill>
            <a:srgbClr val="E5EBED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ustomer Survival chance</a:t>
            </a:r>
            <a:r>
              <a:rPr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in </a:t>
            </a:r>
            <a:r>
              <a:rPr b="1"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refered Order Category</a:t>
            </a:r>
          </a:p>
        </p:txBody>
      </p:sp>
      <p:sp>
        <p:nvSpPr>
          <p:cNvPr id="1049700" name="Google Shape;1992;g19a6bfd5701_2_1017"/>
          <p:cNvSpPr/>
          <p:nvPr/>
        </p:nvSpPr>
        <p:spPr>
          <a:xfrm>
            <a:off x="1507401" y="1548192"/>
            <a:ext cx="2790035" cy="2943798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305CBB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60" name="Google Shape;1993;g19a6bfd5701_2_1017"/>
          <p:cNvGrpSpPr/>
          <p:nvPr/>
        </p:nvGrpSpPr>
        <p:grpSpPr>
          <a:xfrm>
            <a:off x="8697213" y="2170225"/>
            <a:ext cx="3297111" cy="2922490"/>
            <a:chOff x="9191714" y="2170225"/>
            <a:chExt cx="3297111" cy="2922490"/>
          </a:xfrm>
        </p:grpSpPr>
        <p:sp>
          <p:nvSpPr>
            <p:cNvPr id="1049701" name="Google Shape;1994;g19a6bfd5701_2_1017"/>
            <p:cNvSpPr txBox="1"/>
            <p:nvPr/>
          </p:nvSpPr>
          <p:spPr>
            <a:xfrm>
              <a:off x="9191714" y="2170225"/>
              <a:ext cx="28638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4A86E8"/>
                  </a:highlight>
                  <a:latin typeface="Calibri"/>
                  <a:ea typeface="Calibri"/>
                  <a:cs typeface="Calibri"/>
                  <a:sym typeface="Calibri"/>
                </a:rPr>
                <a:t>95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Grocery</a:t>
              </a:r>
            </a:p>
          </p:txBody>
        </p:sp>
        <p:sp>
          <p:nvSpPr>
            <p:cNvPr id="1049702" name="Google Shape;1995;g19a6bfd5701_2_1017"/>
            <p:cNvSpPr txBox="1"/>
            <p:nvPr/>
          </p:nvSpPr>
          <p:spPr>
            <a:xfrm>
              <a:off x="9191715" y="2845107"/>
              <a:ext cx="2640300" cy="891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FF9900"/>
                  </a:highlight>
                  <a:latin typeface="Calibri"/>
                  <a:ea typeface="Calibri"/>
                  <a:cs typeface="Calibri"/>
                  <a:sym typeface="Calibri"/>
                </a:rPr>
                <a:t>92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Others</a:t>
              </a:r>
            </a:p>
          </p:txBody>
        </p:sp>
        <p:sp>
          <p:nvSpPr>
            <p:cNvPr id="1049703" name="Google Shape;1996;g19a6bfd5701_2_1017"/>
            <p:cNvSpPr txBox="1"/>
            <p:nvPr/>
          </p:nvSpPr>
          <p:spPr>
            <a:xfrm>
              <a:off x="9211626" y="3526334"/>
              <a:ext cx="28638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93C47D"/>
                  </a:highlight>
                  <a:latin typeface="Calibri"/>
                  <a:ea typeface="Calibri"/>
                  <a:cs typeface="Calibri"/>
                  <a:sym typeface="Calibri"/>
                </a:rPr>
                <a:t>83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Fashion</a:t>
              </a:r>
            </a:p>
          </p:txBody>
        </p:sp>
        <p:sp>
          <p:nvSpPr>
            <p:cNvPr id="1049704" name="Google Shape;1997;g19a6bfd5701_2_1017"/>
            <p:cNvSpPr txBox="1"/>
            <p:nvPr/>
          </p:nvSpPr>
          <p:spPr>
            <a:xfrm>
              <a:off x="9211625" y="4201216"/>
              <a:ext cx="3277200" cy="891499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EA9999"/>
                  </a:highlight>
                  <a:latin typeface="Calibri"/>
                  <a:ea typeface="Calibri"/>
                  <a:cs typeface="Calibri"/>
                  <a:sym typeface="Calibri"/>
                </a:rPr>
                <a:t>73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Mobile Phone</a:t>
              </a:r>
            </a:p>
          </p:txBody>
        </p:sp>
      </p:grpSp>
      <p:grpSp>
        <p:nvGrpSpPr>
          <p:cNvPr id="361" name="Google Shape;1998;g19a6bfd5701_2_1017"/>
          <p:cNvGrpSpPr/>
          <p:nvPr/>
        </p:nvGrpSpPr>
        <p:grpSpPr>
          <a:xfrm>
            <a:off x="1056370" y="4492481"/>
            <a:ext cx="3151317" cy="374108"/>
            <a:chOff x="2077606" y="5659401"/>
            <a:chExt cx="3151317" cy="374108"/>
          </a:xfrm>
        </p:grpSpPr>
        <p:sp>
          <p:nvSpPr>
            <p:cNvPr id="1049705" name="Google Shape;1999;g19a6bfd5701_2_1017"/>
            <p:cNvSpPr/>
            <p:nvPr/>
          </p:nvSpPr>
          <p:spPr>
            <a:xfrm>
              <a:off x="2077606" y="5666620"/>
              <a:ext cx="521214" cy="366889"/>
            </a:xfrm>
            <a:prstGeom prst="roundRect">
              <a:avLst>
                <a:gd name="adj" fmla="val 16667"/>
              </a:avLst>
            </a:prstGeom>
            <a:solidFill>
              <a:srgbClr val="305CBB">
                <a:alpha val="2392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706" name="Google Shape;2000;g19a6bfd5701_2_1017"/>
            <p:cNvSpPr/>
            <p:nvPr/>
          </p:nvSpPr>
          <p:spPr>
            <a:xfrm>
              <a:off x="4802356" y="5659401"/>
              <a:ext cx="426567" cy="366889"/>
            </a:xfrm>
            <a:prstGeom prst="roundRect">
              <a:avLst>
                <a:gd name="adj" fmla="val 16667"/>
              </a:avLst>
            </a:prstGeom>
            <a:solidFill>
              <a:srgbClr val="305CBB">
                <a:alpha val="23921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70" name="Google Shape;2001;g19a6bfd5701_2_1017"/>
            <p:cNvCxnSpPr>
              <a:cxnSpLocks/>
              <a:stCxn id="1049705" idx="3"/>
              <a:endCxn id="1049706" idx="1"/>
            </p:cNvCxnSpPr>
            <p:nvPr/>
          </p:nvCxnSpPr>
          <p:spPr>
            <a:xfrm rot="10800000" flipH="1">
              <a:off x="2598820" y="5842865"/>
              <a:ext cx="2203500" cy="7200"/>
            </a:xfrm>
            <a:prstGeom prst="straightConnector1"/>
            <a:noFill/>
            <a:ln w="19050" cap="flat" cmpd="sng">
              <a:solidFill>
                <a:schemeClr val="accent6">
                  <a:alpha val="4196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62" name="Google Shape;2002;g19a6bfd5701_2_1017"/>
          <p:cNvGrpSpPr/>
          <p:nvPr/>
        </p:nvGrpSpPr>
        <p:grpSpPr>
          <a:xfrm>
            <a:off x="220907" y="4091227"/>
            <a:ext cx="803247" cy="1077958"/>
            <a:chOff x="955072" y="5195116"/>
            <a:chExt cx="803247" cy="1077958"/>
          </a:xfrm>
        </p:grpSpPr>
        <p:sp>
          <p:nvSpPr>
            <p:cNvPr id="1049707" name="Google Shape;2003;g19a6bfd5701_2_1017"/>
            <p:cNvSpPr txBox="1"/>
            <p:nvPr/>
          </p:nvSpPr>
          <p:spPr>
            <a:xfrm>
              <a:off x="955072" y="5195116"/>
              <a:ext cx="777875" cy="390093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lang="en-ID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54</a:t>
              </a: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%</a:t>
              </a:r>
            </a:p>
          </p:txBody>
        </p:sp>
        <p:sp>
          <p:nvSpPr>
            <p:cNvPr id="1049708" name="Google Shape;2004;g19a6bfd5701_2_1017"/>
            <p:cNvSpPr txBox="1"/>
            <p:nvPr/>
          </p:nvSpPr>
          <p:spPr>
            <a:xfrm>
              <a:off x="980444" y="5585210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41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709" name="Google Shape;2005;g19a6bfd5701_2_1017"/>
            <p:cNvSpPr txBox="1"/>
            <p:nvPr/>
          </p:nvSpPr>
          <p:spPr>
            <a:xfrm>
              <a:off x="964542" y="5903742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5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710" name="Google Shape;2006;g19a6bfd5701_2_1017"/>
          <p:cNvSpPr/>
          <p:nvPr/>
        </p:nvSpPr>
        <p:spPr>
          <a:xfrm>
            <a:off x="871782" y="4311602"/>
            <a:ext cx="193484" cy="735531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9CC2E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63" name="Google Shape;2007;g19a6bfd5701_2_1017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711" name="Google Shape;2008;g19a6bfd5701_2_101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2" name="Google Shape;2009;g19a6bfd5701_2_101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3" name="Google Shape;2010;g19a6bfd5701_2_101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4" name="Google Shape;2011;g19a6bfd5701_2_101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5" name="Google Shape;2012;g19a6bfd5701_2_101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6" name="Google Shape;2013;g19a6bfd5701_2_101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7" name="Google Shape;2014;g19a6bfd5701_2_101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8" name="Google Shape;2015;g19a6bfd5701_2_101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19" name="Google Shape;2016;g19a6bfd5701_2_101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20" name="Google Shape;2017;g19a6bfd5701_2_101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21" name="Google Shape;2018;g19a6bfd5701_2_101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22" name="Google Shape;2019;g19a6bfd5701_2_101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64" name="Google Shape;2020;g19a6bfd5701_2_1017"/>
          <p:cNvGrpSpPr/>
          <p:nvPr/>
        </p:nvGrpSpPr>
        <p:grpSpPr>
          <a:xfrm>
            <a:off x="1010806" y="6170537"/>
            <a:ext cx="3187446" cy="386151"/>
            <a:chOff x="2077606" y="5647369"/>
            <a:chExt cx="3187446" cy="386151"/>
          </a:xfrm>
        </p:grpSpPr>
        <p:sp>
          <p:nvSpPr>
            <p:cNvPr id="1049723" name="Google Shape;2021;g19a6bfd5701_2_1017"/>
            <p:cNvSpPr/>
            <p:nvPr/>
          </p:nvSpPr>
          <p:spPr>
            <a:xfrm>
              <a:off x="2077606" y="5666620"/>
              <a:ext cx="5211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724" name="Google Shape;2022;g19a6bfd5701_2_1017"/>
            <p:cNvSpPr/>
            <p:nvPr/>
          </p:nvSpPr>
          <p:spPr>
            <a:xfrm>
              <a:off x="4838452" y="5647369"/>
              <a:ext cx="4266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71" name="Google Shape;2023;g19a6bfd5701_2_1017"/>
            <p:cNvCxnSpPr>
              <a:cxnSpLocks/>
              <a:stCxn id="1049723" idx="3"/>
              <a:endCxn id="1049724" idx="1"/>
            </p:cNvCxnSpPr>
            <p:nvPr/>
          </p:nvCxnSpPr>
          <p:spPr>
            <a:xfrm rot="10800000" flipH="1">
              <a:off x="2598706" y="5830870"/>
              <a:ext cx="2239800" cy="19200"/>
            </a:xfrm>
            <a:prstGeom prst="straightConnector1"/>
            <a:noFill/>
            <a:ln w="19050" cap="flat" cmpd="sng">
              <a:solidFill>
                <a:schemeClr val="accent2">
                  <a:alpha val="498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65" name="Google Shape;2024;g19a6bfd5701_2_1017"/>
          <p:cNvGrpSpPr/>
          <p:nvPr/>
        </p:nvGrpSpPr>
        <p:grpSpPr>
          <a:xfrm>
            <a:off x="9124525" y="5741944"/>
            <a:ext cx="797915" cy="1077924"/>
            <a:chOff x="960429" y="5195118"/>
            <a:chExt cx="797915" cy="1077924"/>
          </a:xfrm>
        </p:grpSpPr>
        <p:sp>
          <p:nvSpPr>
            <p:cNvPr id="1049725" name="Google Shape;2025;g19a6bfd5701_2_1017"/>
            <p:cNvSpPr txBox="1"/>
            <p:nvPr/>
          </p:nvSpPr>
          <p:spPr>
            <a:xfrm>
              <a:off x="960429" y="5195118"/>
              <a:ext cx="777900" cy="3447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lang="en-ID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6</a:t>
              </a: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%</a:t>
              </a:r>
            </a:p>
          </p:txBody>
        </p:sp>
        <p:sp>
          <p:nvSpPr>
            <p:cNvPr id="1049726" name="Google Shape;2026;g19a6bfd5701_2_1017"/>
            <p:cNvSpPr txBox="1"/>
            <p:nvPr/>
          </p:nvSpPr>
          <p:spPr>
            <a:xfrm>
              <a:off x="980444" y="5585210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68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727" name="Google Shape;2027;g19a6bfd5701_2_1017"/>
            <p:cNvSpPr txBox="1"/>
            <p:nvPr/>
          </p:nvSpPr>
          <p:spPr>
            <a:xfrm>
              <a:off x="964542" y="5903742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26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728" name="Google Shape;2028;g19a6bfd5701_2_1017"/>
          <p:cNvSpPr/>
          <p:nvPr/>
        </p:nvSpPr>
        <p:spPr>
          <a:xfrm flipH="1">
            <a:off x="8892525" y="5963540"/>
            <a:ext cx="193500" cy="735600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72" name="Google Shape;2029;g19a6bfd5701_2_1017"/>
          <p:cNvCxnSpPr>
            <a:cxnSpLocks/>
          </p:cNvCxnSpPr>
          <p:nvPr/>
        </p:nvCxnSpPr>
        <p:spPr>
          <a:xfrm rot="10800000" flipH="1">
            <a:off x="4163321" y="6331204"/>
            <a:ext cx="4668300" cy="3300"/>
          </a:xfrm>
          <a:prstGeom prst="straightConnector1"/>
          <a:noFill/>
          <a:ln w="19050" cap="flat" cmpd="sng">
            <a:solidFill>
              <a:schemeClr val="accent2">
                <a:alpha val="49800"/>
              </a:schemeClr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600" id="7"/>
                                        <p:tgtEl>
                                          <p:spTgt spid="10496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7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" id="16"/>
                                        <p:tgtEl>
                                          <p:spTgt spid="3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9"/>
                                        <p:tgtEl>
                                          <p:spTgt spid="10497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5"/>
                                        <p:tgtEl>
                                          <p:spTgt spid="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8"/>
                                        <p:tgtEl>
                                          <p:spTgt spid="10497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1"/>
                                        <p:tgtEl>
                                          <p:spTgt spid="31457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68" name="Shape 2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32" name="Google Shape;2035;g19a6bfd5701_2_1039"/>
          <p:cNvSpPr txBox="1"/>
          <p:nvPr/>
        </p:nvSpPr>
        <p:spPr>
          <a:xfrm>
            <a:off x="0" y="5046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hurn Prediction and Preven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194" name="Google Shape;2036;g19a6bfd5701_2_1039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1318051" y="1227478"/>
            <a:ext cx="8266299" cy="5468775"/>
          </a:xfrm>
          <a:prstGeom prst="rect"/>
          <a:noFill/>
          <a:ln>
            <a:noFill/>
          </a:ln>
        </p:spPr>
      </p:pic>
      <p:sp>
        <p:nvSpPr>
          <p:cNvPr id="1049733" name="Google Shape;2037;g19a6bfd5701_2_1039"/>
          <p:cNvSpPr txBox="1"/>
          <p:nvPr/>
        </p:nvSpPr>
        <p:spPr>
          <a:xfrm>
            <a:off x="9517376" y="1486779"/>
            <a:ext cx="2697480" cy="497801"/>
          </a:xfrm>
          <a:prstGeom prst="rect"/>
          <a:solidFill>
            <a:srgbClr val="E5EBED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Customer Survival chance </a:t>
            </a:r>
            <a:r>
              <a:rPr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in </a:t>
            </a:r>
            <a:r>
              <a:rPr b="1" sz="1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Prefered Payment Mode</a:t>
            </a:r>
            <a:endParaRPr sz="140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grpSp>
        <p:nvGrpSpPr>
          <p:cNvPr id="369" name="Google Shape;2038;g19a6bfd5701_2_1039"/>
          <p:cNvGrpSpPr/>
          <p:nvPr/>
        </p:nvGrpSpPr>
        <p:grpSpPr>
          <a:xfrm>
            <a:off x="9052014" y="2129453"/>
            <a:ext cx="3203401" cy="2026673"/>
            <a:chOff x="8803094" y="2218353"/>
            <a:chExt cx="3203401" cy="2026673"/>
          </a:xfrm>
        </p:grpSpPr>
        <p:sp>
          <p:nvSpPr>
            <p:cNvPr id="1049734" name="Google Shape;2039;g19a6bfd5701_2_1039"/>
            <p:cNvSpPr txBox="1"/>
            <p:nvPr/>
          </p:nvSpPr>
          <p:spPr>
            <a:xfrm>
              <a:off x="8803094" y="2218353"/>
              <a:ext cx="32034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4A86E8"/>
                  </a:highlight>
                  <a:latin typeface="Calibri"/>
                  <a:ea typeface="Calibri"/>
                  <a:cs typeface="Calibri"/>
                  <a:sym typeface="Calibri"/>
                </a:rPr>
                <a:t>84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Debit Card</a:t>
              </a:r>
            </a:p>
          </p:txBody>
        </p:sp>
        <p:sp>
          <p:nvSpPr>
            <p:cNvPr id="1049735" name="Google Shape;2040;g19a6bfd5701_2_1039"/>
            <p:cNvSpPr txBox="1"/>
            <p:nvPr/>
          </p:nvSpPr>
          <p:spPr>
            <a:xfrm>
              <a:off x="8803095" y="2893235"/>
              <a:ext cx="32034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FF9900"/>
                  </a:highlight>
                  <a:latin typeface="Calibri"/>
                  <a:ea typeface="Calibri"/>
                  <a:cs typeface="Calibri"/>
                  <a:sym typeface="Calibri"/>
                </a:rPr>
                <a:t>86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Credit Card</a:t>
              </a:r>
            </a:p>
          </p:txBody>
        </p:sp>
        <p:sp>
          <p:nvSpPr>
            <p:cNvPr id="1049736" name="Google Shape;2041;g19a6bfd5701_2_1039"/>
            <p:cNvSpPr txBox="1"/>
            <p:nvPr/>
          </p:nvSpPr>
          <p:spPr>
            <a:xfrm>
              <a:off x="8823006" y="3598526"/>
              <a:ext cx="2640300" cy="6465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1" marL="59690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cap="none" sz="3600" i="0" lang="en-ID" strike="noStrike" u="none">
                  <a:solidFill>
                    <a:schemeClr val="dk1"/>
                  </a:solidFill>
                  <a:highlight>
                    <a:srgbClr val="B6D7A8"/>
                  </a:highlight>
                  <a:latin typeface="Calibri"/>
                  <a:ea typeface="Calibri"/>
                  <a:cs typeface="Calibri"/>
                  <a:sym typeface="Calibri"/>
                </a:rPr>
                <a:t>74%</a:t>
              </a:r>
              <a:r>
                <a:rPr b="1" cap="none" sz="1800" i="0" lang="en-ID" strike="noStrike" u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 of COD</a:t>
              </a:r>
            </a:p>
          </p:txBody>
        </p:sp>
      </p:grpSp>
      <p:grpSp>
        <p:nvGrpSpPr>
          <p:cNvPr id="370" name="Google Shape;2042;g19a6bfd5701_2_1039"/>
          <p:cNvGrpSpPr/>
          <p:nvPr/>
        </p:nvGrpSpPr>
        <p:grpSpPr>
          <a:xfrm>
            <a:off x="1373001" y="5605122"/>
            <a:ext cx="3187413" cy="386140"/>
            <a:chOff x="2077606" y="5647369"/>
            <a:chExt cx="3187413" cy="386140"/>
          </a:xfrm>
        </p:grpSpPr>
        <p:sp>
          <p:nvSpPr>
            <p:cNvPr id="1049737" name="Google Shape;2043;g19a6bfd5701_2_1039"/>
            <p:cNvSpPr/>
            <p:nvPr/>
          </p:nvSpPr>
          <p:spPr>
            <a:xfrm>
              <a:off x="2077606" y="5666620"/>
              <a:ext cx="521214" cy="366889"/>
            </a:xfrm>
            <a:prstGeom prst="roundRect">
              <a:avLst>
                <a:gd name="adj" fmla="val 16667"/>
              </a:avLst>
            </a:prstGeom>
            <a:solidFill>
              <a:schemeClr val="accent4">
                <a:alpha val="23921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738" name="Google Shape;2044;g19a6bfd5701_2_1039"/>
            <p:cNvSpPr/>
            <p:nvPr/>
          </p:nvSpPr>
          <p:spPr>
            <a:xfrm>
              <a:off x="4838452" y="5647369"/>
              <a:ext cx="426567" cy="366889"/>
            </a:xfrm>
            <a:prstGeom prst="roundRect">
              <a:avLst>
                <a:gd name="adj" fmla="val 16667"/>
              </a:avLst>
            </a:prstGeom>
            <a:solidFill>
              <a:schemeClr val="accent4">
                <a:alpha val="23921"/>
              </a:scheme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73" name="Google Shape;2045;g19a6bfd5701_2_1039"/>
            <p:cNvCxnSpPr>
              <a:cxnSpLocks/>
              <a:stCxn id="1049737" idx="3"/>
              <a:endCxn id="1049738" idx="1"/>
            </p:cNvCxnSpPr>
            <p:nvPr/>
          </p:nvCxnSpPr>
          <p:spPr>
            <a:xfrm rot="10800000" flipH="1">
              <a:off x="2598820" y="5830865"/>
              <a:ext cx="2239500" cy="19200"/>
            </a:xfrm>
            <a:prstGeom prst="straightConnector1"/>
            <a:noFill/>
            <a:ln w="19050" cap="flat" cmpd="sng">
              <a:solidFill>
                <a:schemeClr val="accent2">
                  <a:alpha val="49803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049739" name="Google Shape;2046;g19a6bfd5701_2_1039"/>
          <p:cNvSpPr/>
          <p:nvPr/>
        </p:nvSpPr>
        <p:spPr>
          <a:xfrm>
            <a:off x="1894215" y="1486779"/>
            <a:ext cx="2790035" cy="3548372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4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71" name="Google Shape;2047;g19a6bfd5701_2_1039"/>
          <p:cNvGrpSpPr/>
          <p:nvPr/>
        </p:nvGrpSpPr>
        <p:grpSpPr>
          <a:xfrm>
            <a:off x="542973" y="5236888"/>
            <a:ext cx="803247" cy="1077958"/>
            <a:chOff x="955072" y="5195116"/>
            <a:chExt cx="803247" cy="1077958"/>
          </a:xfrm>
        </p:grpSpPr>
        <p:sp>
          <p:nvSpPr>
            <p:cNvPr id="1049740" name="Google Shape;2048;g19a6bfd5701_2_1039"/>
            <p:cNvSpPr txBox="1"/>
            <p:nvPr/>
          </p:nvSpPr>
          <p:spPr>
            <a:xfrm>
              <a:off x="955072" y="5195116"/>
              <a:ext cx="777875" cy="390093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lang="en-ID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5</a:t>
              </a: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%</a:t>
              </a:r>
            </a:p>
          </p:txBody>
        </p:sp>
        <p:sp>
          <p:nvSpPr>
            <p:cNvPr id="1049741" name="Google Shape;2049;g19a6bfd5701_2_1039"/>
            <p:cNvSpPr txBox="1"/>
            <p:nvPr/>
          </p:nvSpPr>
          <p:spPr>
            <a:xfrm>
              <a:off x="980444" y="5585210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71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742" name="Google Shape;2050;g19a6bfd5701_2_1039"/>
            <p:cNvSpPr txBox="1"/>
            <p:nvPr/>
          </p:nvSpPr>
          <p:spPr>
            <a:xfrm>
              <a:off x="964542" y="5903742"/>
              <a:ext cx="777875" cy="36933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14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743" name="Google Shape;2051;g19a6bfd5701_2_1039"/>
          <p:cNvSpPr/>
          <p:nvPr/>
        </p:nvSpPr>
        <p:spPr>
          <a:xfrm>
            <a:off x="1181148" y="5444563"/>
            <a:ext cx="193484" cy="735531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FEE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72" name="Google Shape;2052;g19a6bfd5701_2_1039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744" name="Google Shape;2053;g19a6bfd5701_2_1039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45" name="Google Shape;2054;g19a6bfd5701_2_1039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46" name="Google Shape;2055;g19a6bfd5701_2_1039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47" name="Google Shape;2056;g19a6bfd5701_2_1039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48" name="Google Shape;2057;g19a6bfd5701_2_1039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49" name="Google Shape;2058;g19a6bfd5701_2_1039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0" name="Google Shape;2059;g19a6bfd5701_2_1039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1" name="Google Shape;2060;g19a6bfd5701_2_1039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2" name="Google Shape;2061;g19a6bfd5701_2_1039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3" name="Google Shape;2062;g19a6bfd5701_2_1039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4" name="Google Shape;2063;g19a6bfd5701_2_1039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755" name="Google Shape;2064;g19a6bfd5701_2_1039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73" name="Google Shape;2065;g19a6bfd5701_2_1039"/>
          <p:cNvGrpSpPr/>
          <p:nvPr/>
        </p:nvGrpSpPr>
        <p:grpSpPr>
          <a:xfrm>
            <a:off x="1391806" y="6170537"/>
            <a:ext cx="3187446" cy="386151"/>
            <a:chOff x="2077606" y="5647369"/>
            <a:chExt cx="3187446" cy="386151"/>
          </a:xfrm>
        </p:grpSpPr>
        <p:sp>
          <p:nvSpPr>
            <p:cNvPr id="1049756" name="Google Shape;2066;g19a6bfd5701_2_1039"/>
            <p:cNvSpPr/>
            <p:nvPr/>
          </p:nvSpPr>
          <p:spPr>
            <a:xfrm>
              <a:off x="2077606" y="5666620"/>
              <a:ext cx="5211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757" name="Google Shape;2067;g19a6bfd5701_2_1039"/>
            <p:cNvSpPr/>
            <p:nvPr/>
          </p:nvSpPr>
          <p:spPr>
            <a:xfrm>
              <a:off x="4838452" y="5647369"/>
              <a:ext cx="426600" cy="366900"/>
            </a:xfrm>
            <a:prstGeom prst="roundRect">
              <a:avLst>
                <a:gd name="adj" fmla="val 16667"/>
              </a:avLst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145774" name="Google Shape;2068;g19a6bfd5701_2_1039"/>
            <p:cNvCxnSpPr>
              <a:cxnSpLocks/>
              <a:stCxn id="1049756" idx="3"/>
              <a:endCxn id="1049757" idx="1"/>
            </p:cNvCxnSpPr>
            <p:nvPr/>
          </p:nvCxnSpPr>
          <p:spPr>
            <a:xfrm rot="10800000" flipH="1">
              <a:off x="2598706" y="5830870"/>
              <a:ext cx="2239800" cy="19200"/>
            </a:xfrm>
            <a:prstGeom prst="straightConnector1"/>
            <a:noFill/>
            <a:ln w="19050" cap="flat" cmpd="sng">
              <a:solidFill>
                <a:schemeClr val="accent2">
                  <a:alpha val="498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74" name="Google Shape;2069;g19a6bfd5701_2_1039"/>
          <p:cNvGrpSpPr/>
          <p:nvPr/>
        </p:nvGrpSpPr>
        <p:grpSpPr>
          <a:xfrm>
            <a:off x="9505525" y="5741944"/>
            <a:ext cx="797915" cy="1077924"/>
            <a:chOff x="960429" y="5195118"/>
            <a:chExt cx="797915" cy="1077924"/>
          </a:xfrm>
        </p:grpSpPr>
        <p:sp>
          <p:nvSpPr>
            <p:cNvPr id="1049758" name="Google Shape;2070;g19a6bfd5701_2_1039"/>
            <p:cNvSpPr txBox="1"/>
            <p:nvPr/>
          </p:nvSpPr>
          <p:spPr>
            <a:xfrm>
              <a:off x="960429" y="5195118"/>
              <a:ext cx="777900" cy="3447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1</a:t>
              </a:r>
              <a:r>
                <a:rPr b="1" sz="1800" lang="en-ID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3</a:t>
              </a:r>
              <a:r>
                <a:rPr b="1" sz="1800" i="0" lang="en-ID" strike="noStrike" u="none">
                  <a:solidFill>
                    <a:srgbClr val="292929"/>
                  </a:solidFill>
                  <a:latin typeface="Raleway"/>
                  <a:ea typeface="Raleway"/>
                  <a:cs typeface="Raleway"/>
                  <a:sym typeface="Raleway"/>
                </a:rPr>
                <a:t>%</a:t>
              </a:r>
            </a:p>
          </p:txBody>
        </p:sp>
        <p:sp>
          <p:nvSpPr>
            <p:cNvPr id="1049759" name="Google Shape;2071;g19a6bfd5701_2_1039"/>
            <p:cNvSpPr txBox="1"/>
            <p:nvPr/>
          </p:nvSpPr>
          <p:spPr>
            <a:xfrm>
              <a:off x="980444" y="5585210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62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760" name="Google Shape;2072;g19a6bfd5701_2_1039"/>
            <p:cNvSpPr txBox="1"/>
            <p:nvPr/>
          </p:nvSpPr>
          <p:spPr>
            <a:xfrm>
              <a:off x="964542" y="5903742"/>
              <a:ext cx="777900" cy="369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25%</a:t>
              </a:r>
              <a:endParaRPr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sp>
        <p:nvSpPr>
          <p:cNvPr id="1049761" name="Google Shape;2073;g19a6bfd5701_2_1039"/>
          <p:cNvSpPr/>
          <p:nvPr/>
        </p:nvSpPr>
        <p:spPr>
          <a:xfrm flipH="1">
            <a:off x="9273525" y="5963540"/>
            <a:ext cx="193500" cy="735600"/>
          </a:xfrm>
          <a:prstGeom prst="rightBrace">
            <a:avLst>
              <a:gd name="adj1" fmla="val 8333"/>
              <a:gd name="adj2" fmla="val 50000"/>
            </a:avLst>
          </a:prstGeom>
          <a:noFill/>
          <a:ln w="190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45775" name="Google Shape;2074;g19a6bfd5701_2_1039"/>
          <p:cNvCxnSpPr>
            <a:cxnSpLocks/>
          </p:cNvCxnSpPr>
          <p:nvPr/>
        </p:nvCxnSpPr>
        <p:spPr>
          <a:xfrm rot="10800000" flipH="1">
            <a:off x="4544321" y="6331204"/>
            <a:ext cx="4668300" cy="3300"/>
          </a:xfrm>
          <a:prstGeom prst="straightConnector1"/>
          <a:noFill/>
          <a:ln w="19050" cap="flat" cmpd="sng">
            <a:solidFill>
              <a:schemeClr val="accent2">
                <a:alpha val="49800"/>
              </a:schemeClr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600" id="7"/>
                                        <p:tgtEl>
                                          <p:spTgt spid="10497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7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" id="16"/>
                                        <p:tgtEl>
                                          <p:spTgt spid="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9"/>
                                        <p:tgtEl>
                                          <p:spTgt spid="10497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5"/>
                                        <p:tgtEl>
                                          <p:spTgt spid="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8"/>
                                        <p:tgtEl>
                                          <p:spTgt spid="10497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1"/>
                                        <p:tgtEl>
                                          <p:spTgt spid="31457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</p:bgPr>
    </p:bg>
    <p:spTree>
      <p:nvGrpSpPr>
        <p:cNvPr id="377" name="Shape 2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" name="Google Shape;2079;g19cd92314ba_1_0"/>
          <p:cNvGrpSpPr/>
          <p:nvPr/>
        </p:nvGrpSpPr>
        <p:grpSpPr>
          <a:xfrm>
            <a:off x="2890618" y="1657249"/>
            <a:ext cx="6326365" cy="4322041"/>
            <a:chOff x="0" y="0"/>
            <a:chExt cx="12103242" cy="8160953"/>
          </a:xfrm>
        </p:grpSpPr>
        <p:pic>
          <p:nvPicPr>
            <p:cNvPr id="2097195" name="Google Shape;2080;g19cd92314ba_1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1">
              <a:alphaModFix/>
            </a:blip>
            <a:srcRect l="28053" r="22103"/>
            <a:stretch>
              <a:fillRect/>
            </a:stretch>
          </p:blipFill>
          <p:spPr>
            <a:xfrm>
              <a:off x="0" y="0"/>
              <a:ext cx="3962587" cy="5296981"/>
            </a:xfrm>
            <a:prstGeom prst="rect"/>
            <a:noFill/>
            <a:ln>
              <a:noFill/>
            </a:ln>
          </p:spPr>
        </p:pic>
        <p:pic>
          <p:nvPicPr>
            <p:cNvPr id="2097196" name="Google Shape;2081;g19cd92314ba_1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2">
              <a:alphaModFix/>
            </a:blip>
            <a:srcRect l="158" r="157"/>
            <a:stretch>
              <a:fillRect/>
            </a:stretch>
          </p:blipFill>
          <p:spPr>
            <a:xfrm>
              <a:off x="4178069" y="0"/>
              <a:ext cx="7925173" cy="5296981"/>
            </a:xfrm>
            <a:prstGeom prst="rect"/>
            <a:noFill/>
            <a:ln>
              <a:noFill/>
            </a:ln>
          </p:spPr>
        </p:pic>
        <p:pic>
          <p:nvPicPr>
            <p:cNvPr id="2097197" name="Google Shape;2082;g19cd92314ba_1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 l="158" r="157"/>
            <a:stretch>
              <a:fillRect/>
            </a:stretch>
          </p:blipFill>
          <p:spPr>
            <a:xfrm>
              <a:off x="0" y="5512463"/>
              <a:ext cx="3962587" cy="2648490"/>
            </a:xfrm>
            <a:prstGeom prst="rect"/>
            <a:noFill/>
            <a:ln>
              <a:noFill/>
            </a:ln>
          </p:spPr>
        </p:pic>
        <p:pic>
          <p:nvPicPr>
            <p:cNvPr id="2097198" name="Google Shape;2083;g19cd92314ba_1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 t="22819" r="39071" b="46656"/>
            <a:stretch>
              <a:fillRect/>
            </a:stretch>
          </p:blipFill>
          <p:spPr>
            <a:xfrm>
              <a:off x="4178069" y="5512463"/>
              <a:ext cx="7925173" cy="2648490"/>
            </a:xfrm>
            <a:prstGeom prst="rect"/>
            <a:noFill/>
            <a:ln>
              <a:noFill/>
            </a:ln>
          </p:spPr>
        </p:pic>
      </p:grpSp>
      <p:cxnSp>
        <p:nvCxnSpPr>
          <p:cNvPr id="3145776" name="Google Shape;2084;g19cd92314ba_1_0"/>
          <p:cNvCxnSpPr>
            <a:cxnSpLocks/>
          </p:cNvCxnSpPr>
          <p:nvPr/>
        </p:nvCxnSpPr>
        <p:spPr>
          <a:xfrm>
            <a:off x="1727897" y="1666758"/>
            <a:ext cx="11628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79" name="Google Shape;2085;g19cd92314ba_1_0"/>
          <p:cNvGrpSpPr/>
          <p:nvPr/>
        </p:nvGrpSpPr>
        <p:grpSpPr>
          <a:xfrm>
            <a:off x="2639348" y="1400901"/>
            <a:ext cx="774945" cy="788741"/>
            <a:chOff x="1813" y="0"/>
            <a:chExt cx="809173" cy="812800"/>
          </a:xfrm>
        </p:grpSpPr>
        <p:sp>
          <p:nvSpPr>
            <p:cNvPr id="1049765" name="Google Shape;2086;g19cd92314ba_1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FC7ECF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49766" name="Google Shape;2087;g19cd92314ba_1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145777" name="Google Shape;2088;g19cd92314ba_1_0"/>
          <p:cNvCxnSpPr>
            <a:cxnSpLocks/>
          </p:cNvCxnSpPr>
          <p:nvPr/>
        </p:nvCxnSpPr>
        <p:spPr>
          <a:xfrm>
            <a:off x="1727897" y="5988436"/>
            <a:ext cx="11628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78" name="Google Shape;2089;g19cd92314ba_1_0"/>
          <p:cNvCxnSpPr>
            <a:cxnSpLocks/>
          </p:cNvCxnSpPr>
          <p:nvPr/>
        </p:nvCxnSpPr>
        <p:spPr>
          <a:xfrm rot="-5400000">
            <a:off x="1599389" y="5860135"/>
            <a:ext cx="2883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oval" w="lg" len="lg"/>
          </a:ln>
        </p:spPr>
      </p:cxnSp>
      <p:grpSp>
        <p:nvGrpSpPr>
          <p:cNvPr id="380" name="Google Shape;2090;g19cd92314ba_1_0"/>
          <p:cNvGrpSpPr/>
          <p:nvPr/>
        </p:nvGrpSpPr>
        <p:grpSpPr>
          <a:xfrm>
            <a:off x="2639348" y="5446577"/>
            <a:ext cx="774945" cy="788741"/>
            <a:chOff x="1813" y="0"/>
            <a:chExt cx="809173" cy="812800"/>
          </a:xfrm>
        </p:grpSpPr>
        <p:sp>
          <p:nvSpPr>
            <p:cNvPr id="1049767" name="Google Shape;2091;g19cd92314ba_1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FBDE4E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49768" name="Google Shape;2092;g19cd92314ba_1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81" name="Google Shape;2093;g19cd92314ba_1_0"/>
          <p:cNvGrpSpPr/>
          <p:nvPr/>
        </p:nvGrpSpPr>
        <p:grpSpPr>
          <a:xfrm>
            <a:off x="4073731" y="3562543"/>
            <a:ext cx="1851226" cy="1884070"/>
            <a:chOff x="1813" y="0"/>
            <a:chExt cx="809173" cy="812800"/>
          </a:xfrm>
        </p:grpSpPr>
        <p:sp>
          <p:nvSpPr>
            <p:cNvPr id="1049769" name="Google Shape;2094;g19cd92314ba_1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FDFDFD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49770" name="Google Shape;2095;g19cd92314ba_1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145779" name="Google Shape;2096;g19cd92314ba_1_0"/>
          <p:cNvCxnSpPr>
            <a:cxnSpLocks/>
          </p:cNvCxnSpPr>
          <p:nvPr/>
        </p:nvCxnSpPr>
        <p:spPr>
          <a:xfrm>
            <a:off x="9216407" y="1666758"/>
            <a:ext cx="11628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80" name="Google Shape;2097;g19cd92314ba_1_0"/>
          <p:cNvCxnSpPr>
            <a:cxnSpLocks/>
          </p:cNvCxnSpPr>
          <p:nvPr/>
        </p:nvCxnSpPr>
        <p:spPr>
          <a:xfrm rot="-5400000">
            <a:off x="10180186" y="1834326"/>
            <a:ext cx="3666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oval" w="lg" len="lg"/>
            <a:tailEnd type="none" w="sm" len="sm"/>
          </a:ln>
        </p:spPr>
      </p:cxnSp>
      <p:grpSp>
        <p:nvGrpSpPr>
          <p:cNvPr id="382" name="Google Shape;2098;g19cd92314ba_1_0"/>
          <p:cNvGrpSpPr/>
          <p:nvPr/>
        </p:nvGrpSpPr>
        <p:grpSpPr>
          <a:xfrm>
            <a:off x="8692732" y="1400901"/>
            <a:ext cx="774945" cy="788741"/>
            <a:chOff x="1813" y="0"/>
            <a:chExt cx="809173" cy="812800"/>
          </a:xfrm>
        </p:grpSpPr>
        <p:sp>
          <p:nvSpPr>
            <p:cNvPr id="1049771" name="Google Shape;2099;g19cd92314ba_1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8CD7E7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49772" name="Google Shape;2100;g19cd92314ba_1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145781" name="Google Shape;2101;g19cd92314ba_1_0"/>
          <p:cNvCxnSpPr>
            <a:cxnSpLocks/>
          </p:cNvCxnSpPr>
          <p:nvPr/>
        </p:nvCxnSpPr>
        <p:spPr>
          <a:xfrm>
            <a:off x="9185123" y="5956739"/>
            <a:ext cx="11628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82" name="Google Shape;2102;g19cd92314ba_1_0"/>
          <p:cNvCxnSpPr>
            <a:cxnSpLocks/>
          </p:cNvCxnSpPr>
          <p:nvPr/>
        </p:nvCxnSpPr>
        <p:spPr>
          <a:xfrm rot="-5400000">
            <a:off x="10188051" y="5828438"/>
            <a:ext cx="2883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oval" w="lg" len="lg"/>
          </a:ln>
        </p:spPr>
      </p:cxnSp>
      <p:grpSp>
        <p:nvGrpSpPr>
          <p:cNvPr id="383" name="Google Shape;2103;g19cd92314ba_1_0"/>
          <p:cNvGrpSpPr/>
          <p:nvPr/>
        </p:nvGrpSpPr>
        <p:grpSpPr>
          <a:xfrm>
            <a:off x="8692732" y="5446577"/>
            <a:ext cx="774945" cy="788741"/>
            <a:chOff x="1813" y="0"/>
            <a:chExt cx="809173" cy="812800"/>
          </a:xfrm>
        </p:grpSpPr>
        <p:sp>
          <p:nvSpPr>
            <p:cNvPr id="1049773" name="Google Shape;2104;g19cd92314ba_1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000000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49774" name="Google Shape;2105;g19cd92314ba_1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775" name="Google Shape;2106;g19cd92314ba_1_0"/>
          <p:cNvSpPr txBox="1"/>
          <p:nvPr/>
        </p:nvSpPr>
        <p:spPr>
          <a:xfrm>
            <a:off x="469450" y="2143804"/>
            <a:ext cx="2062800" cy="380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1500" lang="en-ID">
                <a:latin typeface="Roboto"/>
                <a:ea typeface="Roboto"/>
                <a:cs typeface="Roboto"/>
                <a:sym typeface="Roboto"/>
              </a:rPr>
              <a:t>Complain </a:t>
            </a:r>
            <a:endParaRPr b="1"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76" name="Google Shape;2107;g19cd92314ba_1_0"/>
          <p:cNvSpPr txBox="1"/>
          <p:nvPr/>
        </p:nvSpPr>
        <p:spPr>
          <a:xfrm>
            <a:off x="314325" y="2491350"/>
            <a:ext cx="2217900" cy="1270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Create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Customer Experience</a:t>
            </a: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,  can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Fast</a:t>
            </a: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Handling</a:t>
            </a: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 Complain, ask for customer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feedback at regular intervals</a:t>
            </a: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30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77" name="Google Shape;2108;g19cd92314ba_1_0"/>
          <p:cNvSpPr txBox="1"/>
          <p:nvPr/>
        </p:nvSpPr>
        <p:spPr>
          <a:xfrm>
            <a:off x="314350" y="4502100"/>
            <a:ext cx="2217900" cy="381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1500" lang="en-ID">
                <a:latin typeface="Roboto"/>
                <a:ea typeface="Roboto"/>
                <a:cs typeface="Roboto"/>
                <a:sym typeface="Roboto"/>
              </a:rPr>
              <a:t>Preferred </a:t>
            </a: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ayment Mode </a:t>
            </a:r>
            <a:endParaRPr b="1"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78" name="Google Shape;2109;g19cd92314ba_1_0"/>
          <p:cNvSpPr txBox="1"/>
          <p:nvPr/>
        </p:nvSpPr>
        <p:spPr>
          <a:xfrm>
            <a:off x="469450" y="4878571"/>
            <a:ext cx="2062800" cy="10286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rtl="0">
              <a:lnSpc>
                <a:spcPct val="150000"/>
              </a:lnSpc>
              <a:spcBef>
                <a:spcPts val="320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292929"/>
                </a:solidFill>
                <a:latin typeface="Roboto"/>
                <a:ea typeface="Roboto"/>
                <a:cs typeface="Roboto"/>
                <a:sym typeface="Roboto"/>
              </a:rPr>
              <a:t>Encourage customers to set up payments either through a </a:t>
            </a:r>
            <a:r>
              <a:rPr b="1" sz="1300" lang="en-ID">
                <a:solidFill>
                  <a:srgbClr val="292929"/>
                </a:solidFill>
                <a:latin typeface="Roboto"/>
                <a:ea typeface="Roboto"/>
                <a:cs typeface="Roboto"/>
                <a:sym typeface="Roboto"/>
              </a:rPr>
              <a:t>debit card or credit card</a:t>
            </a:r>
            <a:endParaRPr b="1"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79" name="Google Shape;2110;g19cd92314ba_1_0"/>
          <p:cNvSpPr txBox="1"/>
          <p:nvPr/>
        </p:nvSpPr>
        <p:spPr>
          <a:xfrm>
            <a:off x="9575361" y="2093242"/>
            <a:ext cx="2062800" cy="380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1500" lang="en-ID">
                <a:latin typeface="Roboto"/>
                <a:ea typeface="Roboto"/>
                <a:cs typeface="Roboto"/>
                <a:sym typeface="Roboto"/>
              </a:rPr>
              <a:t>Marital Status</a:t>
            </a:r>
            <a:endParaRPr b="1"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80" name="Google Shape;2111;g19cd92314ba_1_0"/>
          <p:cNvSpPr txBox="1"/>
          <p:nvPr/>
        </p:nvSpPr>
        <p:spPr>
          <a:xfrm>
            <a:off x="9573050" y="2491350"/>
            <a:ext cx="2062800" cy="1270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cap="none" sz="1300" i="0" lang="en-ID" strike="noStrike" u="none">
                <a:solidFill>
                  <a:srgbClr val="434343"/>
                </a:solidFill>
                <a:latin typeface="Roboto Medium"/>
                <a:ea typeface="Roboto Medium"/>
                <a:cs typeface="Roboto Medium"/>
                <a:sym typeface="Roboto Medium"/>
              </a:rPr>
              <a:t>Targeting campaigns, products and services</a:t>
            </a:r>
            <a:r>
              <a:rPr sz="1300" lang="en-ID">
                <a:solidFill>
                  <a:srgbClr val="434343"/>
                </a:solidFill>
                <a:latin typeface="Roboto Medium"/>
                <a:ea typeface="Roboto Medium"/>
                <a:cs typeface="Roboto Medium"/>
                <a:sym typeface="Roboto Medium"/>
              </a:rPr>
              <a:t> fit with status Married or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Family Package</a:t>
            </a:r>
            <a:endParaRPr b="1" sz="130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81" name="Google Shape;2112;g19cd92314ba_1_0"/>
          <p:cNvSpPr txBox="1"/>
          <p:nvPr/>
        </p:nvSpPr>
        <p:spPr>
          <a:xfrm>
            <a:off x="9573045" y="4544485"/>
            <a:ext cx="2062800" cy="381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500" lang="en-ID">
                <a:latin typeface="Roboto Medium"/>
                <a:ea typeface="Roboto Medium"/>
                <a:cs typeface="Roboto Medium"/>
                <a:sym typeface="Roboto Medium"/>
              </a:rPr>
              <a:t>Preferred </a:t>
            </a:r>
            <a:r>
              <a:rPr cap="none" sz="1500" i="0" lang="en-ID" strike="noStrike" u="none">
                <a:solidFill>
                  <a:srgbClr val="000000"/>
                </a:solidFill>
                <a:latin typeface="Roboto Medium"/>
                <a:ea typeface="Roboto Medium"/>
                <a:cs typeface="Roboto Medium"/>
                <a:sym typeface="Roboto Medium"/>
              </a:rPr>
              <a:t>Order Cat</a:t>
            </a:r>
            <a:endParaRPr sz="9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49782" name="Google Shape;2113;g19cd92314ba_1_0"/>
          <p:cNvSpPr txBox="1"/>
          <p:nvPr/>
        </p:nvSpPr>
        <p:spPr>
          <a:xfrm>
            <a:off x="9573045" y="4892020"/>
            <a:ext cx="2062800" cy="10287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rtl="0">
              <a:lnSpc>
                <a:spcPct val="150000"/>
              </a:lnSpc>
              <a:spcBef>
                <a:spcPts val="170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Encourage customers to preferred </a:t>
            </a:r>
            <a:r>
              <a:rPr b="1" sz="1300" lang="en-ID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order category grocery</a:t>
            </a:r>
            <a:endParaRPr b="1" sz="130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3145783" name="Google Shape;2114;g19cd92314ba_1_0"/>
          <p:cNvCxnSpPr>
            <a:cxnSpLocks/>
          </p:cNvCxnSpPr>
          <p:nvPr/>
        </p:nvCxnSpPr>
        <p:spPr>
          <a:xfrm rot="-5400000">
            <a:off x="1560239" y="1834326"/>
            <a:ext cx="3666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oval" w="lg" len="lg"/>
            <a:tailEnd type="none" w="sm" len="sm"/>
          </a:ln>
        </p:spPr>
      </p:cxnSp>
      <p:sp>
        <p:nvSpPr>
          <p:cNvPr id="1049783" name="Google Shape;2115;g19cd92314ba_1_0"/>
          <p:cNvSpPr txBox="1"/>
          <p:nvPr/>
        </p:nvSpPr>
        <p:spPr>
          <a:xfrm>
            <a:off x="2816224" y="1594959"/>
            <a:ext cx="421200" cy="4318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900"/>
          </a:p>
        </p:txBody>
      </p:sp>
      <p:sp>
        <p:nvSpPr>
          <p:cNvPr id="1049784" name="Google Shape;2116;g19cd92314ba_1_0"/>
          <p:cNvSpPr txBox="1"/>
          <p:nvPr/>
        </p:nvSpPr>
        <p:spPr>
          <a:xfrm>
            <a:off x="2816224" y="5640636"/>
            <a:ext cx="421200" cy="4317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cap="none" sz="2000" i="0" lang="en-ID" strike="noStrike" u="none">
                <a:solidFill>
                  <a:srgbClr val="000000"/>
                </a:solidFill>
                <a:latin typeface="Barlow Medium"/>
                <a:ea typeface="Barlow Medium"/>
                <a:cs typeface="Barlow Medium"/>
                <a:sym typeface="Barlow Medium"/>
              </a:rPr>
              <a:t>3</a:t>
            </a:r>
            <a:endParaRPr sz="900"/>
          </a:p>
        </p:txBody>
      </p:sp>
      <p:sp>
        <p:nvSpPr>
          <p:cNvPr id="1049785" name="Google Shape;2117;g19cd92314ba_1_0"/>
          <p:cNvSpPr txBox="1"/>
          <p:nvPr/>
        </p:nvSpPr>
        <p:spPr>
          <a:xfrm>
            <a:off x="8869609" y="1594959"/>
            <a:ext cx="421200" cy="4318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cap="none" sz="2000" i="0" lang="en-ID" strike="noStrike" u="none">
                <a:solidFill>
                  <a:srgbClr val="FFFFFF"/>
                </a:solidFill>
                <a:latin typeface="Barlow Medium"/>
                <a:ea typeface="Barlow Medium"/>
                <a:cs typeface="Barlow Medium"/>
                <a:sym typeface="Barlow Medium"/>
              </a:rPr>
              <a:t>2</a:t>
            </a:r>
            <a:endParaRPr sz="900"/>
          </a:p>
        </p:txBody>
      </p:sp>
      <p:sp>
        <p:nvSpPr>
          <p:cNvPr id="1049786" name="Google Shape;2118;g19cd92314ba_1_0"/>
          <p:cNvSpPr txBox="1"/>
          <p:nvPr/>
        </p:nvSpPr>
        <p:spPr>
          <a:xfrm>
            <a:off x="8869609" y="5640636"/>
            <a:ext cx="421200" cy="4317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900"/>
          </a:p>
        </p:txBody>
      </p:sp>
      <p:sp>
        <p:nvSpPr>
          <p:cNvPr id="1049787" name="Google Shape;2119;g19cd92314ba_1_0"/>
          <p:cNvSpPr txBox="1"/>
          <p:nvPr/>
        </p:nvSpPr>
        <p:spPr>
          <a:xfrm>
            <a:off x="3409391" y="6000865"/>
            <a:ext cx="5281500" cy="1651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1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800" lang="en-ID">
                <a:solidFill>
                  <a:srgbClr val="13538A"/>
                </a:solidFill>
                <a:latin typeface="Barlow"/>
                <a:ea typeface="Barlow"/>
                <a:cs typeface="Barlow"/>
                <a:sym typeface="Barlow"/>
              </a:rPr>
              <a:t>https://www.zendesk.com/blog/why-companies-should-invest-in-the-customer-experience/</a:t>
            </a:r>
            <a:endParaRPr b="1" sz="800">
              <a:solidFill>
                <a:srgbClr val="13538A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049788" name="Google Shape;2120;g19cd92314ba_1_0"/>
          <p:cNvSpPr txBox="1"/>
          <p:nvPr/>
        </p:nvSpPr>
        <p:spPr>
          <a:xfrm>
            <a:off x="0" y="50464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Recommendation Business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86" name="Shape 2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0" name="Google Shape;2126;g19a6bfd5701_2_1060"/>
          <p:cNvGraphicFramePr>
            <a:graphicFrameLocks/>
          </p:cNvGraphicFramePr>
          <p:nvPr/>
        </p:nvGraphicFramePr>
        <p:xfrm>
          <a:off x="0" y="1553618"/>
          <a:ext cx="5427025" cy="2557350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924975"/>
                <a:gridCol w="1403900"/>
                <a:gridCol w="1444250"/>
                <a:gridCol w="897600"/>
                <a:gridCol w="756300"/>
              </a:tblGrid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CustomerID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Cashback Amount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Exp_Churn_Month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Exp_Loss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Baseline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50046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30.58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1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,436.38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1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50048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20.88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9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,296.72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9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50177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12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5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,680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5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50194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24.78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,746.92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5023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7.36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,063.04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  <p:sp>
        <p:nvSpPr>
          <p:cNvPr id="1049791" name="Google Shape;2127;g19a6bfd5701_2_1060"/>
          <p:cNvSpPr txBox="1"/>
          <p:nvPr/>
        </p:nvSpPr>
        <p:spPr>
          <a:xfrm>
            <a:off x="976956" y="1178239"/>
            <a:ext cx="36999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18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alculate Expected Loss Table </a:t>
            </a:r>
            <a:endParaRPr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792" name="Google Shape;2128;g19a6bfd5701_2_1060"/>
          <p:cNvSpPr/>
          <p:nvPr/>
        </p:nvSpPr>
        <p:spPr>
          <a:xfrm>
            <a:off x="179715" y="2032879"/>
            <a:ext cx="569700" cy="29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194311" name="Google Shape;2129;g19a6bfd5701_2_1060"/>
          <p:cNvGraphicFramePr>
            <a:graphicFrameLocks/>
          </p:cNvGraphicFramePr>
          <p:nvPr/>
        </p:nvGraphicFramePr>
        <p:xfrm>
          <a:off x="5427025" y="4273835"/>
          <a:ext cx="6764975" cy="2557350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1850575"/>
                <a:gridCol w="2495300"/>
                <a:gridCol w="2419100"/>
              </a:tblGrid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OrderCat_Grocery_Uplift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PaymentMode_Credit Card_Uplift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50"/>
                        <a:buFont typeface="Roboto"/>
                        <a:buNone/>
                      </a:pPr>
                      <a:r>
                        <a:rPr b="1" cap="none" sz="1150" lang="en-ID" strike="noStrike" u="none">
                          <a:latin typeface="Roboto"/>
                          <a:ea typeface="Roboto"/>
                          <a:cs typeface="Roboto"/>
                          <a:sym typeface="Roboto"/>
                        </a:rPr>
                        <a:t>PaymentMode_Debit Card_Uplift</a:t>
                      </a:r>
                      <a:endParaRPr b="1" cap="none" sz="1150" strike="noStrike" u="none"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5EBED"/>
                    </a:solidFill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6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5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0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9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0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0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5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20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9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7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4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26225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7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6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300"/>
                        <a:buFont typeface="Cambria Math"/>
                        <a:buNone/>
                      </a:pPr>
                      <a:r>
                        <a:rPr cap="none" sz="1300" lang="en-ID" strike="noStrike" u="none">
                          <a:latin typeface="Cambria Math"/>
                          <a:ea typeface="Cambria Math"/>
                          <a:cs typeface="Cambria Math"/>
                          <a:sym typeface="Cambria Math"/>
                        </a:rPr>
                        <a:t>17.00</a:t>
                      </a:r>
                      <a:endParaRPr cap="none" sz="1300" strike="noStrike" u="none">
                        <a:latin typeface="Cambria Math"/>
                        <a:ea typeface="Cambria Math"/>
                        <a:cs typeface="Cambria Math"/>
                        <a:sym typeface="Cambria Math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  <p:sp>
        <p:nvSpPr>
          <p:cNvPr id="1049793" name="Google Shape;2130;g19a6bfd5701_2_1060"/>
          <p:cNvSpPr txBox="1"/>
          <p:nvPr/>
        </p:nvSpPr>
        <p:spPr>
          <a:xfrm>
            <a:off x="6938365" y="3904503"/>
            <a:ext cx="37422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8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Estimated Revenue Uplift Table</a:t>
            </a:r>
            <a:r>
              <a:rPr sz="1800" i="0" lang="en-ID" strike="noStrike" u="none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 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794" name="Google Shape;2131;g19a6bfd5701_2_1060"/>
          <p:cNvSpPr/>
          <p:nvPr/>
        </p:nvSpPr>
        <p:spPr>
          <a:xfrm>
            <a:off x="2770757" y="2032879"/>
            <a:ext cx="569700" cy="29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795" name="Google Shape;2132;g19a6bfd5701_2_1060"/>
          <p:cNvSpPr/>
          <p:nvPr/>
        </p:nvSpPr>
        <p:spPr>
          <a:xfrm>
            <a:off x="3839498" y="2032879"/>
            <a:ext cx="770700" cy="29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199" name="Google Shape;2133;g19a6bfd5701_2_106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 rot="747305">
            <a:off x="5504582" y="1568765"/>
            <a:ext cx="1068191" cy="928229"/>
          </a:xfrm>
          <a:prstGeom prst="rect"/>
          <a:noFill/>
          <a:ln>
            <a:noFill/>
          </a:ln>
        </p:spPr>
      </p:pic>
      <p:sp>
        <p:nvSpPr>
          <p:cNvPr id="1049796" name="Google Shape;2134;g19a6bfd5701_2_1060"/>
          <p:cNvSpPr txBox="1"/>
          <p:nvPr/>
        </p:nvSpPr>
        <p:spPr>
          <a:xfrm>
            <a:off x="6660301" y="1791083"/>
            <a:ext cx="25218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lang="en-ID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rPr>
              <a:t>CustomerID 50046 :</a:t>
            </a:r>
            <a:endParaRPr sz="1800">
              <a:solidFill>
                <a:schemeClr val="dk1"/>
              </a:solidFill>
              <a:highlight>
                <a:srgbClr val="E7ECEE"/>
              </a:highlight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797" name="Google Shape;2135;g19a6bfd5701_2_1060"/>
          <p:cNvSpPr txBox="1"/>
          <p:nvPr/>
        </p:nvSpPr>
        <p:spPr>
          <a:xfrm>
            <a:off x="7770437" y="2040960"/>
            <a:ext cx="3681600" cy="7263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13970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2400" lang="en-ID">
                <a:solidFill>
                  <a:srgbClr val="FF0000"/>
                </a:solidFill>
                <a:latin typeface="Raleway"/>
                <a:ea typeface="Raleway"/>
                <a:cs typeface="Raleway"/>
                <a:sym typeface="Raleway"/>
              </a:rPr>
              <a:t>Churn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at </a:t>
            </a:r>
            <a:r>
              <a:rPr b="1"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month </a:t>
            </a:r>
            <a:r>
              <a:rPr b="1" sz="2800" lang="en-ID">
                <a:solidFill>
                  <a:srgbClr val="FF0000"/>
                </a:solidFill>
                <a:latin typeface="Cambria Math"/>
                <a:ea typeface="Cambria Math"/>
                <a:cs typeface="Cambria Math"/>
                <a:sym typeface="Cambria Math"/>
              </a:rPr>
              <a:t>11</a:t>
            </a:r>
            <a:r>
              <a:rPr b="1" sz="2800" lang="en-ID">
                <a:solidFill>
                  <a:srgbClr val="FF0000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b="1" sz="1800">
              <a:solidFill>
                <a:srgbClr val="FF0000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798" name="Google Shape;2136;g19a6bfd5701_2_1060"/>
          <p:cNvSpPr txBox="1"/>
          <p:nvPr/>
        </p:nvSpPr>
        <p:spPr>
          <a:xfrm>
            <a:off x="6500679" y="2568556"/>
            <a:ext cx="6191400" cy="7263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13970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sz="2400" lang="en-ID">
                <a:solidFill>
                  <a:srgbClr val="FF0000"/>
                </a:solidFill>
                <a:latin typeface="Raleway"/>
                <a:ea typeface="Raleway"/>
                <a:cs typeface="Raleway"/>
                <a:sym typeface="Raleway"/>
              </a:rPr>
              <a:t>Expected Loss 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of</a:t>
            </a:r>
            <a:r>
              <a:rPr b="1"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b="1" sz="2800" lang="en-ID">
                <a:solidFill>
                  <a:srgbClr val="FF0000"/>
                </a:solidFill>
                <a:latin typeface="Cambria Math"/>
                <a:ea typeface="Cambria Math"/>
                <a:cs typeface="Cambria Math"/>
                <a:sym typeface="Cambria Math"/>
              </a:rPr>
              <a:t>$14,363</a:t>
            </a:r>
            <a:endParaRPr b="1" sz="1800">
              <a:solidFill>
                <a:srgbClr val="FF0000"/>
              </a:solidFill>
              <a:latin typeface="Cambria Math"/>
              <a:ea typeface="Cambria Math"/>
              <a:cs typeface="Cambria Math"/>
              <a:sym typeface="Cambria Math"/>
            </a:endParaRPr>
          </a:p>
        </p:txBody>
      </p:sp>
      <p:sp>
        <p:nvSpPr>
          <p:cNvPr id="1049799" name="Google Shape;2137;g19a6bfd5701_2_1060"/>
          <p:cNvSpPr/>
          <p:nvPr/>
        </p:nvSpPr>
        <p:spPr>
          <a:xfrm>
            <a:off x="6001817" y="4762689"/>
            <a:ext cx="5361300" cy="313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6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200" name="Google Shape;2138;g19a6bfd5701_2_106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 rot="-1583479" flipH="1">
            <a:off x="4340679" y="4451684"/>
            <a:ext cx="1068191" cy="928229"/>
          </a:xfrm>
          <a:prstGeom prst="rect"/>
          <a:noFill/>
          <a:ln>
            <a:noFill/>
          </a:ln>
        </p:spPr>
      </p:pic>
      <p:sp>
        <p:nvSpPr>
          <p:cNvPr id="1049800" name="Google Shape;2139;g19a6bfd5701_2_1060"/>
          <p:cNvSpPr txBox="1"/>
          <p:nvPr/>
        </p:nvSpPr>
        <p:spPr>
          <a:xfrm>
            <a:off x="1382291" y="4874728"/>
            <a:ext cx="29643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800" lang="en-ID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rPr>
              <a:t>Estimated </a:t>
            </a:r>
            <a:r>
              <a:rPr b="1" sz="1800" lang="en-ID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rPr>
              <a:t>Revenue Uplift</a:t>
            </a:r>
            <a:r>
              <a:rPr sz="1800" lang="en-ID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rPr>
              <a:t> </a:t>
            </a:r>
            <a:endParaRPr sz="1800">
              <a:solidFill>
                <a:schemeClr val="dk1"/>
              </a:solidFill>
              <a:highlight>
                <a:srgbClr val="E7ECEE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87" name="Google Shape;2140;g19a6bfd5701_2_1060"/>
          <p:cNvGrpSpPr/>
          <p:nvPr/>
        </p:nvGrpSpPr>
        <p:grpSpPr>
          <a:xfrm>
            <a:off x="502845" y="5244060"/>
            <a:ext cx="3932743" cy="1366015"/>
            <a:chOff x="744150" y="4208786"/>
            <a:chExt cx="6942176" cy="1366015"/>
          </a:xfrm>
        </p:grpSpPr>
        <p:sp>
          <p:nvSpPr>
            <p:cNvPr id="1049801" name="Google Shape;2141;g19a6bfd5701_2_1060"/>
            <p:cNvSpPr txBox="1"/>
            <p:nvPr/>
          </p:nvSpPr>
          <p:spPr>
            <a:xfrm>
              <a:off x="744150" y="4208786"/>
              <a:ext cx="6942174" cy="461665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6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Order Category </a:t>
              </a:r>
              <a:r>
                <a:rPr b="1" sz="2400" lang="en-ID">
                  <a:solidFill>
                    <a:schemeClr val="accent6"/>
                  </a:solidFill>
                  <a:latin typeface="Raleway"/>
                  <a:ea typeface="Raleway"/>
                  <a:cs typeface="Raleway"/>
                  <a:sym typeface="Raleway"/>
                </a:rPr>
                <a:t>Grocery $ 160</a:t>
              </a:r>
              <a:r>
                <a:rPr sz="2400" lang="en-ID">
                  <a:solidFill>
                    <a:schemeClr val="accent6"/>
                  </a:solidFill>
                  <a:latin typeface="Raleway"/>
                  <a:ea typeface="Raleway"/>
                  <a:cs typeface="Raleway"/>
                  <a:sym typeface="Raleway"/>
                </a:rPr>
                <a:t> </a:t>
              </a:r>
              <a:endParaRPr sz="180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802" name="Google Shape;2142;g19a6bfd5701_2_1060"/>
            <p:cNvSpPr txBox="1"/>
            <p:nvPr/>
          </p:nvSpPr>
          <p:spPr>
            <a:xfrm>
              <a:off x="939800" y="5113136"/>
              <a:ext cx="6746526" cy="461665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6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Payment</a:t>
              </a:r>
              <a:r>
                <a:rPr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 </a:t>
              </a:r>
              <a:r>
                <a:rPr b="1" sz="2400" lang="en-ID">
                  <a:solidFill>
                    <a:schemeClr val="accent6"/>
                  </a:solidFill>
                  <a:latin typeface="Raleway"/>
                  <a:ea typeface="Raleway"/>
                  <a:cs typeface="Raleway"/>
                  <a:sym typeface="Raleway"/>
                </a:rPr>
                <a:t>Credit Card $ 140</a:t>
              </a:r>
              <a:endParaRPr sz="180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803" name="Google Shape;2143;g19a6bfd5701_2_1060"/>
            <p:cNvSpPr txBox="1"/>
            <p:nvPr/>
          </p:nvSpPr>
          <p:spPr>
            <a:xfrm>
              <a:off x="1133735" y="4653829"/>
              <a:ext cx="6369050" cy="461665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6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Payment</a:t>
              </a:r>
              <a:r>
                <a:rPr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 </a:t>
              </a:r>
              <a:r>
                <a:rPr b="1" sz="2400" lang="en-ID">
                  <a:solidFill>
                    <a:schemeClr val="accent6"/>
                  </a:solidFill>
                  <a:latin typeface="Raleway"/>
                  <a:ea typeface="Raleway"/>
                  <a:cs typeface="Raleway"/>
                  <a:sym typeface="Raleway"/>
                </a:rPr>
                <a:t>Debit Card $ 150</a:t>
              </a:r>
              <a:endParaRPr sz="1800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9804" name="Google Shape;2144;g19a6bfd5701_2_1060"/>
          <p:cNvSpPr txBox="1"/>
          <p:nvPr/>
        </p:nvSpPr>
        <p:spPr>
          <a:xfrm>
            <a:off x="-30550" y="-1950"/>
            <a:ext cx="5590200" cy="7920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b="1" sz="3000" lang="en-ID">
                <a:solidFill>
                  <a:schemeClr val="dk1"/>
                </a:solidFill>
                <a:highlight>
                  <a:srgbClr val="F0F0F0"/>
                </a:highlight>
                <a:latin typeface="Fredoka One"/>
                <a:ea typeface="Fredoka One"/>
                <a:cs typeface="Fredoka One"/>
                <a:sym typeface="Fredoka One"/>
              </a:rPr>
              <a:t>predict_survival_function</a:t>
            </a:r>
            <a:endParaRPr sz="3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9805" name="Google Shape;2145;g19a6bfd5701_2_1060">
            <a:hlinkClick r:id="rId2"/>
          </p:cNvPr>
          <p:cNvSpPr txBox="1"/>
          <p:nvPr/>
        </p:nvSpPr>
        <p:spPr>
          <a:xfrm>
            <a:off x="-30550" y="733775"/>
            <a:ext cx="12222600" cy="3693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sp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 u="sng">
                <a:solidFill>
                  <a:srgbClr val="0000FF"/>
                </a:solidFill>
              </a:rPr>
              <a:t>https://lifelines.readthedocs.io/en/latest/fitters/regression/CoxPHFitter.html#lifelines.fitters.coxph_fitter.SemiParametricPHFitter.predict_survival_function</a:t>
            </a:r>
            <a:endParaRPr sz="1200" u="sng">
              <a:solidFill>
                <a:srgbClr val="0000FF"/>
              </a:solidFill>
            </a:endParaRPr>
          </a:p>
        </p:txBody>
      </p:sp>
      <p:pic>
        <p:nvPicPr>
          <p:cNvPr id="2097201" name="Google Shape;2146;g19a6bfd5701_2_106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 rot="747305">
            <a:off x="5647032" y="-70060"/>
            <a:ext cx="1068191" cy="928229"/>
          </a:xfrm>
          <a:prstGeom prst="rect"/>
          <a:noFill/>
          <a:ln>
            <a:noFill/>
          </a:ln>
        </p:spPr>
      </p:pic>
      <p:sp>
        <p:nvSpPr>
          <p:cNvPr id="1049806" name="Google Shape;2147;g19a6bfd5701_2_1060"/>
          <p:cNvSpPr txBox="1"/>
          <p:nvPr/>
        </p:nvSpPr>
        <p:spPr>
          <a:xfrm>
            <a:off x="6802750" y="228450"/>
            <a:ext cx="54987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lang="en-ID">
                <a:solidFill>
                  <a:schemeClr val="dk1"/>
                </a:solidFill>
                <a:highlight>
                  <a:srgbClr val="E7ECEE"/>
                </a:highlight>
                <a:latin typeface="Raleway"/>
                <a:ea typeface="Raleway"/>
                <a:cs typeface="Raleway"/>
                <a:sym typeface="Raleway"/>
              </a:rPr>
              <a:t>Censored Customer with Tenure 60 months</a:t>
            </a:r>
            <a:endParaRPr sz="1800">
              <a:solidFill>
                <a:schemeClr val="dk1"/>
              </a:solidFill>
              <a:highlight>
                <a:srgbClr val="E7ECEE"/>
              </a:highlight>
              <a:latin typeface="Raleway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10498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498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2097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4">
                      <p:stCondLst>
                        <p:cond delay="indefinite"/>
                      </p:stCondLst>
                      <p:childTnLst>
                        <p:par>
                          <p:cTn fill="hold" id="15">
                            <p:stCondLst>
                              <p:cond delay="0"/>
                            </p:stCondLst>
                            <p:childTnLst>
                              <p:par>
                                <p:cTn fill="hold" id="16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8"/>
                                        <p:tgtEl>
                                          <p:spTgt spid="1049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1"/>
                                        <p:tgtEl>
                                          <p:spTgt spid="10497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4"/>
                                        <p:tgtEl>
                                          <p:spTgt spid="10497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7"/>
                                        <p:tgtEl>
                                          <p:spTgt spid="2097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0"/>
                                        <p:tgtEl>
                                          <p:spTgt spid="10497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3"/>
                                        <p:tgtEl>
                                          <p:spTgt spid="10497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6"/>
                                        <p:tgtEl>
                                          <p:spTgt spid="10497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7">
                      <p:stCondLst>
                        <p:cond delay="indefinite"/>
                      </p:stCondLst>
                      <p:childTnLst>
                        <p:par>
                          <p:cTn fill="hold" id="38">
                            <p:stCondLst>
                              <p:cond delay="0"/>
                            </p:stCondLst>
                            <p:childTnLst>
                              <p:par>
                                <p:cTn fill="hold" id="39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1"/>
                                        <p:tgtEl>
                                          <p:spTgt spid="10497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4"/>
                                        <p:tgtEl>
                                          <p:spTgt spid="2097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7"/>
                                        <p:tgtEl>
                                          <p:spTgt spid="10498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5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90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810" name="Google Shape;2152;g193347d103b_5_70"/>
          <p:cNvSpPr txBox="1">
            <a:spLocks noGrp="1"/>
          </p:cNvSpPr>
          <p:nvPr>
            <p:ph type="title"/>
          </p:nvPr>
        </p:nvSpPr>
        <p:spPr>
          <a:xfrm>
            <a:off x="1016148" y="2077445"/>
            <a:ext cx="8653200" cy="1758000"/>
          </a:xfrm>
          <a:prstGeom prst="rect"/>
          <a:noFill/>
          <a:ln>
            <a:noFill/>
          </a:ln>
        </p:spPr>
        <p:txBody>
          <a:bodyPr anchor="b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0"/>
              <a:buNone/>
            </a:pPr>
            <a:r>
              <a:rPr sz="5900" lang="en-ID"/>
              <a:t>Segmentation of Customer</a:t>
            </a:r>
            <a:endParaRPr sz="5900"/>
          </a:p>
        </p:txBody>
      </p:sp>
      <p:sp>
        <p:nvSpPr>
          <p:cNvPr id="1049811" name="Google Shape;2153;g193347d103b_5_70"/>
          <p:cNvSpPr txBox="1">
            <a:spLocks noGrp="1"/>
          </p:cNvSpPr>
          <p:nvPr>
            <p:ph type="subTitle" idx="1"/>
          </p:nvPr>
        </p:nvSpPr>
        <p:spPr>
          <a:xfrm>
            <a:off x="1452679" y="3794073"/>
            <a:ext cx="8653200" cy="626700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</a:pPr>
            <a:r>
              <a:rPr lang="en-ID"/>
              <a:t>Using </a:t>
            </a:r>
            <a:r>
              <a:rPr b="1" lang="en-ID"/>
              <a:t>RFM Segmentation</a:t>
            </a:r>
            <a:r>
              <a:rPr lang="en-ID"/>
              <a:t>, </a:t>
            </a:r>
            <a:r>
              <a:rPr b="1" lang="en-ID"/>
              <a:t>K-Means</a:t>
            </a:r>
            <a:r>
              <a:rPr lang="en-ID"/>
              <a:t>, and </a:t>
            </a:r>
            <a:r>
              <a:rPr b="1" lang="en-ID"/>
              <a:t>Gaussian</a:t>
            </a:r>
          </a:p>
        </p:txBody>
      </p:sp>
      <p:grpSp>
        <p:nvGrpSpPr>
          <p:cNvPr id="391" name="Google Shape;2154;g193347d103b_5_70"/>
          <p:cNvGrpSpPr/>
          <p:nvPr/>
        </p:nvGrpSpPr>
        <p:grpSpPr>
          <a:xfrm>
            <a:off x="10422632" y="4130723"/>
            <a:ext cx="1169763" cy="2723341"/>
            <a:chOff x="731955" y="2811840"/>
            <a:chExt cx="564367" cy="1313910"/>
          </a:xfrm>
        </p:grpSpPr>
        <p:sp>
          <p:nvSpPr>
            <p:cNvPr id="1049812" name="Google Shape;2155;g193347d103b_5_70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3" name="Google Shape;2156;g193347d103b_5_70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4" name="Google Shape;2157;g193347d103b_5_70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5" name="Google Shape;2158;g193347d103b_5_70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6" name="Google Shape;2159;g193347d103b_5_70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7" name="Google Shape;2160;g193347d103b_5_70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8" name="Google Shape;2161;g193347d103b_5_70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19" name="Google Shape;2162;g193347d103b_5_70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0" name="Google Shape;2163;g193347d103b_5_70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1" name="Google Shape;2164;g193347d103b_5_70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2" name="Google Shape;2165;g193347d103b_5_70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3" name="Google Shape;2166;g193347d103b_5_70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4" name="Google Shape;2167;g193347d103b_5_70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5" name="Google Shape;2168;g193347d103b_5_70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6" name="Google Shape;2169;g193347d103b_5_70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7" name="Google Shape;2170;g193347d103b_5_70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8" name="Google Shape;2171;g193347d103b_5_70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29" name="Google Shape;2172;g193347d103b_5_70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0" name="Google Shape;2173;g193347d103b_5_70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1" name="Google Shape;2174;g193347d103b_5_70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2" name="Google Shape;2175;g193347d103b_5_70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3" name="Google Shape;2176;g193347d103b_5_70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4" name="Google Shape;2177;g193347d103b_5_70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5" name="Google Shape;2178;g193347d103b_5_70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6" name="Google Shape;2179;g193347d103b_5_70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7" name="Google Shape;2180;g193347d103b_5_70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8" name="Google Shape;2181;g193347d103b_5_70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39" name="Google Shape;2182;g193347d103b_5_70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0" name="Google Shape;2183;g193347d103b_5_70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1" name="Google Shape;2184;g193347d103b_5_70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92" name="Google Shape;2185;g193347d103b_5_70"/>
          <p:cNvGrpSpPr/>
          <p:nvPr/>
        </p:nvGrpSpPr>
        <p:grpSpPr>
          <a:xfrm flipH="1">
            <a:off x="845604" y="5633289"/>
            <a:ext cx="735967" cy="1220783"/>
            <a:chOff x="731955" y="3388996"/>
            <a:chExt cx="355077" cy="588982"/>
          </a:xfrm>
        </p:grpSpPr>
        <p:sp>
          <p:nvSpPr>
            <p:cNvPr id="1049842" name="Google Shape;2186;g193347d103b_5_70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3" name="Google Shape;2187;g193347d103b_5_70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4" name="Google Shape;2188;g193347d103b_5_70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5" name="Google Shape;2189;g193347d103b_5_70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6" name="Google Shape;2190;g193347d103b_5_70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7" name="Google Shape;2191;g193347d103b_5_70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8" name="Google Shape;2192;g193347d103b_5_70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49" name="Google Shape;2193;g193347d103b_5_70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0" name="Google Shape;2194;g193347d103b_5_70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1" name="Google Shape;2195;g193347d103b_5_70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2" name="Google Shape;2196;g193347d103b_5_70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3" name="Google Shape;2197;g193347d103b_5_70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4" name="Google Shape;2198;g193347d103b_5_70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95" name="Shape 2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6" name="Google Shape;2204;g19a6bfd5701_2_1083"/>
          <p:cNvGrpSpPr/>
          <p:nvPr/>
        </p:nvGrpSpPr>
        <p:grpSpPr>
          <a:xfrm flipH="1">
            <a:off x="10570440" y="5109878"/>
            <a:ext cx="1332694" cy="1810395"/>
            <a:chOff x="3264397" y="5882215"/>
            <a:chExt cx="1668579" cy="2266677"/>
          </a:xfrm>
        </p:grpSpPr>
        <p:sp>
          <p:nvSpPr>
            <p:cNvPr id="1049857" name="Google Shape;2205;g19a6bfd5701_2_1083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8" name="Google Shape;2206;g19a6bfd5701_2_1083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59" name="Google Shape;2207;g19a6bfd5701_2_1083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0" name="Google Shape;2208;g19a6bfd5701_2_1083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1" name="Google Shape;2209;g19a6bfd5701_2_1083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2" name="Google Shape;2210;g19a6bfd5701_2_1083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3" name="Google Shape;2211;g19a6bfd5701_2_1083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4" name="Google Shape;2212;g19a6bfd5701_2_1083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5" name="Google Shape;2213;g19a6bfd5701_2_1083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6" name="Google Shape;2214;g19a6bfd5701_2_1083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67" name="Google Shape;2215;g19a6bfd5701_2_1083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868" name="Google Shape;2216;g19a6bfd5701_2_1083"/>
          <p:cNvSpPr txBox="1"/>
          <p:nvPr/>
        </p:nvSpPr>
        <p:spPr>
          <a:xfrm>
            <a:off x="5509675" y="6177050"/>
            <a:ext cx="2919900" cy="369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Segment RFM Score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869" name="Google Shape;2217;g19a6bfd5701_2_1083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RFM Segmenta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397" name="Google Shape;2218;g19a6bfd5701_2_1083"/>
          <p:cNvGrpSpPr/>
          <p:nvPr/>
        </p:nvGrpSpPr>
        <p:grpSpPr>
          <a:xfrm>
            <a:off x="-250613" y="1646403"/>
            <a:ext cx="12465483" cy="311107"/>
            <a:chOff x="878480" y="1250651"/>
            <a:chExt cx="10145972" cy="238034"/>
          </a:xfrm>
        </p:grpSpPr>
        <p:sp>
          <p:nvSpPr>
            <p:cNvPr id="1049870" name="Google Shape;2219;g19a6bfd5701_2_1083"/>
            <p:cNvSpPr txBox="1"/>
            <p:nvPr/>
          </p:nvSpPr>
          <p:spPr>
            <a:xfrm>
              <a:off x="878480" y="1250651"/>
              <a:ext cx="4055491" cy="235486"/>
            </a:xfrm>
            <a:prstGeom prst="rect"/>
            <a:solidFill>
              <a:srgbClr val="1E4E79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Column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DaySinceLastOrder </a:t>
              </a: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as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Recency</a:t>
              </a:r>
            </a:p>
          </p:txBody>
        </p:sp>
        <p:sp>
          <p:nvSpPr>
            <p:cNvPr id="1049871" name="Google Shape;2220;g19a6bfd5701_2_1083"/>
            <p:cNvSpPr txBox="1"/>
            <p:nvPr/>
          </p:nvSpPr>
          <p:spPr>
            <a:xfrm>
              <a:off x="4511313" y="1253199"/>
              <a:ext cx="3167101" cy="235486"/>
            </a:xfrm>
            <a:prstGeom prst="rect"/>
            <a:solidFill>
              <a:srgbClr val="1E4E79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Column 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OrderCount</a:t>
              </a: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as 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Frequency</a:t>
              </a:r>
            </a:p>
          </p:txBody>
        </p:sp>
        <p:sp>
          <p:nvSpPr>
            <p:cNvPr id="1049872" name="Google Shape;2221;g19a6bfd5701_2_1083"/>
            <p:cNvSpPr txBox="1"/>
            <p:nvPr/>
          </p:nvSpPr>
          <p:spPr>
            <a:xfrm>
              <a:off x="7678413" y="1253197"/>
              <a:ext cx="3346039" cy="235486"/>
            </a:xfrm>
            <a:prstGeom prst="rect"/>
            <a:solidFill>
              <a:srgbClr val="1E4E79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</a:t>
              </a: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Column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CashbackAmount </a:t>
              </a:r>
              <a:r>
                <a:rPr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as</a:t>
              </a:r>
              <a:r>
                <a:rPr b="1" sz="1400" lang="en-ID">
                  <a:solidFill>
                    <a:schemeClr val="lt1"/>
                  </a:solidFill>
                  <a:latin typeface="Raleway"/>
                  <a:ea typeface="Raleway"/>
                  <a:cs typeface="Raleway"/>
                  <a:sym typeface="Raleway"/>
                </a:rPr>
                <a:t> Monetary</a:t>
              </a:r>
            </a:p>
          </p:txBody>
        </p:sp>
      </p:grpSp>
      <p:grpSp>
        <p:nvGrpSpPr>
          <p:cNvPr id="398" name="Google Shape;2222;g19a6bfd5701_2_1083"/>
          <p:cNvGrpSpPr/>
          <p:nvPr/>
        </p:nvGrpSpPr>
        <p:grpSpPr>
          <a:xfrm>
            <a:off x="145052" y="1960838"/>
            <a:ext cx="11901896" cy="3362115"/>
            <a:chOff x="177809" y="2037657"/>
            <a:chExt cx="11901896" cy="3362115"/>
          </a:xfrm>
        </p:grpSpPr>
        <p:pic>
          <p:nvPicPr>
            <p:cNvPr id="2097202" name="Google Shape;2223;g19a6bfd5701_2_1083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1">
              <a:alphaModFix/>
            </a:blip>
            <a:srcRect/>
            <a:stretch>
              <a:fillRect/>
            </a:stretch>
          </p:blipFill>
          <p:spPr>
            <a:xfrm>
              <a:off x="177809" y="2037657"/>
              <a:ext cx="11901896" cy="3362115"/>
            </a:xfrm>
            <a:prstGeom prst="rect"/>
            <a:noFill/>
            <a:ln>
              <a:noFill/>
            </a:ln>
          </p:spPr>
        </p:pic>
        <p:sp>
          <p:nvSpPr>
            <p:cNvPr id="1049873" name="Google Shape;2224;g19a6bfd5701_2_1083"/>
            <p:cNvSpPr/>
            <p:nvPr/>
          </p:nvSpPr>
          <p:spPr>
            <a:xfrm>
              <a:off x="639945" y="5114102"/>
              <a:ext cx="3441167" cy="141292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chemeClr val="accent4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874" name="Google Shape;2225;g19a6bfd5701_2_1083"/>
            <p:cNvSpPr/>
            <p:nvPr/>
          </p:nvSpPr>
          <p:spPr>
            <a:xfrm>
              <a:off x="4533623" y="5114102"/>
              <a:ext cx="3537763" cy="141292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chemeClr val="accent4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875" name="Google Shape;2226;g19a6bfd5701_2_1083"/>
            <p:cNvSpPr/>
            <p:nvPr/>
          </p:nvSpPr>
          <p:spPr>
            <a:xfrm>
              <a:off x="8504647" y="5121767"/>
              <a:ext cx="3537763" cy="133627"/>
            </a:xfrm>
            <a:prstGeom prst="roundRect">
              <a:avLst>
                <a:gd name="adj" fmla="val 16667"/>
              </a:avLst>
            </a:prstGeom>
            <a:noFill/>
            <a:ln w="19050" cap="flat" cmpd="sng">
              <a:solidFill>
                <a:schemeClr val="accent4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097203" name="Google Shape;2227;g19a6bfd5701_2_1083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9341543" flipH="1">
            <a:off x="3764285" y="5349207"/>
            <a:ext cx="568140" cy="493698"/>
          </a:xfrm>
          <a:prstGeom prst="rect"/>
          <a:noFill/>
          <a:ln>
            <a:noFill/>
          </a:ln>
        </p:spPr>
      </p:pic>
      <p:sp>
        <p:nvSpPr>
          <p:cNvPr id="1049876" name="Google Shape;2228;g19a6bfd5701_2_1083"/>
          <p:cNvSpPr txBox="1"/>
          <p:nvPr/>
        </p:nvSpPr>
        <p:spPr>
          <a:xfrm>
            <a:off x="4773698" y="5799942"/>
            <a:ext cx="939300" cy="17170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139700" marR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7200" lang="en-ID">
                <a:solidFill>
                  <a:srgbClr val="BF9000"/>
                </a:solidFill>
                <a:latin typeface="Fredoka One"/>
                <a:ea typeface="Fredoka One"/>
                <a:cs typeface="Fredoka One"/>
                <a:sym typeface="Fredoka One"/>
              </a:rPr>
              <a:t>4</a:t>
            </a:r>
            <a:endParaRPr b="1" sz="2800">
              <a:solidFill>
                <a:srgbClr val="FF0000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2097204" name="Google Shape;2229;g19a6bfd5701_2_1083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9341543">
            <a:off x="8350603" y="5349207"/>
            <a:ext cx="568140" cy="493698"/>
          </a:xfrm>
          <a:prstGeom prst="rect"/>
          <a:noFill/>
          <a:ln>
            <a:noFill/>
          </a:ln>
        </p:spPr>
      </p:pic>
      <p:pic>
        <p:nvPicPr>
          <p:cNvPr id="2097205" name="Google Shape;2230;g19a6bfd5701_2_1083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-6295112" flipH="1">
            <a:off x="6399669" y="5291268"/>
            <a:ext cx="568140" cy="493698"/>
          </a:xfrm>
          <a:prstGeom prst="rect"/>
          <a:noFill/>
          <a:ln>
            <a:noFill/>
          </a:ln>
        </p:spPr>
      </p:pic>
      <p:grpSp>
        <p:nvGrpSpPr>
          <p:cNvPr id="399" name="Google Shape;2231;g19a6bfd5701_2_1083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877" name="Google Shape;2232;g19a6bfd5701_2_1083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78" name="Google Shape;2233;g19a6bfd5701_2_1083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79" name="Google Shape;2234;g19a6bfd5701_2_1083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80" name="Google Shape;2235;g19a6bfd5701_2_1083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81" name="Google Shape;2236;g19a6bfd5701_2_1083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82" name="Google Shape;2237;g19a6bfd5701_2_1083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1049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2097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6"/>
                                        <p:tgtEl>
                                          <p:spTgt spid="2097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9"/>
                                        <p:tgtEl>
                                          <p:spTgt spid="2097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1049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EF0"/>
        </a:solidFill>
      </p:bgPr>
    </p:bg>
    <p:spTree>
      <p:nvGrpSpPr>
        <p:cNvPr id="155" name="Shape 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2" name="Google Shape;746;g19dcec343aa_7_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t="21509" b="23574"/>
          <a:stretch>
            <a:fillRect/>
          </a:stretch>
        </p:blipFill>
        <p:spPr>
          <a:xfrm>
            <a:off x="0" y="0"/>
            <a:ext cx="12192000" cy="3507771"/>
          </a:xfrm>
          <a:prstGeom prst="rect"/>
          <a:noFill/>
          <a:ln>
            <a:noFill/>
          </a:ln>
        </p:spPr>
      </p:pic>
      <p:sp>
        <p:nvSpPr>
          <p:cNvPr id="1048643" name="Google Shape;747;g19dcec343aa_7_38"/>
          <p:cNvSpPr/>
          <p:nvPr/>
        </p:nvSpPr>
        <p:spPr>
          <a:xfrm>
            <a:off x="0" y="6971"/>
            <a:ext cx="12192000" cy="3507771"/>
          </a:xfrm>
          <a:prstGeom prst="rect"/>
          <a:solidFill>
            <a:srgbClr val="000000">
              <a:alpha val="72549"/>
            </a:srgbClr>
          </a:solidFill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153" name="Google Shape;748;g19dcec343aa_7_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>
            <a:off x="9264852" y="1696163"/>
            <a:ext cx="1627252" cy="3328012"/>
          </a:xfrm>
          <a:prstGeom prst="rect"/>
          <a:noFill/>
          <a:ln>
            <a:noFill/>
          </a:ln>
        </p:spPr>
      </p:pic>
      <p:sp>
        <p:nvSpPr>
          <p:cNvPr id="1048644" name="Google Shape;749;g19dcec343aa_7_38"/>
          <p:cNvSpPr/>
          <p:nvPr/>
        </p:nvSpPr>
        <p:spPr>
          <a:xfrm>
            <a:off x="7963759" y="4847608"/>
            <a:ext cx="3956108" cy="2086148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45" name="Google Shape;750;g19dcec343aa_7_38"/>
          <p:cNvSpPr txBox="1"/>
          <p:nvPr/>
        </p:nvSpPr>
        <p:spPr>
          <a:xfrm>
            <a:off x="261200" y="1258605"/>
            <a:ext cx="4069411" cy="7111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292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dirty="0" sz="1600" lang="en-ID">
                <a:solidFill>
                  <a:srgbClr val="E6EEF0"/>
                </a:solidFill>
                <a:latin typeface="Raleway"/>
                <a:ea typeface="Raleway"/>
                <a:cs typeface="Raleway"/>
                <a:sym typeface="Raleway"/>
              </a:rPr>
              <a:t>ANALYTICS : DIGITAL ECONOMI</a:t>
            </a:r>
            <a:endParaRPr dirty="0"/>
          </a:p>
        </p:txBody>
      </p:sp>
      <p:sp>
        <p:nvSpPr>
          <p:cNvPr id="1048646" name="Google Shape;751;g19dcec343aa_7_38"/>
          <p:cNvSpPr txBox="1"/>
          <p:nvPr/>
        </p:nvSpPr>
        <p:spPr>
          <a:xfrm>
            <a:off x="1660665" y="91409"/>
            <a:ext cx="4068058" cy="12953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21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dirty="0" sz="4000" lang="en-ID">
                <a:solidFill>
                  <a:srgbClr val="A9D3D2"/>
                </a:solidFill>
                <a:latin typeface="Fredoka One"/>
                <a:ea typeface="Fredoka One"/>
                <a:cs typeface="Fredoka One"/>
                <a:sym typeface="Fredoka One"/>
              </a:rPr>
              <a:t>ANN TEAM</a:t>
            </a:r>
            <a:endParaRPr dirty="0"/>
          </a:p>
        </p:txBody>
      </p:sp>
      <p:sp>
        <p:nvSpPr>
          <p:cNvPr id="1048647" name="Google Shape;752;g19dcec343aa_7_38"/>
          <p:cNvSpPr/>
          <p:nvPr/>
        </p:nvSpPr>
        <p:spPr>
          <a:xfrm rot="10800000" flipH="1">
            <a:off x="36335" y="1190974"/>
            <a:ext cx="3795436" cy="48949"/>
          </a:xfrm>
          <a:prstGeom prst="rect"/>
          <a:solidFill>
            <a:srgbClr val="E5F2F0"/>
          </a:solidFill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48" name="Google Shape;753;g19dcec343aa_7_38"/>
          <p:cNvSpPr/>
          <p:nvPr/>
        </p:nvSpPr>
        <p:spPr>
          <a:xfrm>
            <a:off x="9810750" y="6440777"/>
            <a:ext cx="2381250" cy="45719"/>
          </a:xfrm>
          <a:prstGeom prst="rect"/>
          <a:solidFill>
            <a:srgbClr val="000000"/>
          </a:solidFill>
          <a:ln>
            <a:noFill/>
          </a:ln>
        </p:spPr>
        <p:txBody>
          <a:bodyPr anchor="ctr" anchorCtr="0" bIns="91425" lIns="91425" rIns="91425" spcFirstLastPara="1" tIns="91425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48649" name="Google Shape;754;g19dcec343aa_7_38"/>
          <p:cNvSpPr txBox="1"/>
          <p:nvPr/>
        </p:nvSpPr>
        <p:spPr>
          <a:xfrm>
            <a:off x="9941813" y="5988980"/>
            <a:ext cx="2084019" cy="4953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marR="0" rtl="0">
              <a:lnSpc>
                <a:spcPct val="13995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2400" lang="en-ID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SDN|2022</a:t>
            </a:r>
          </a:p>
        </p:txBody>
      </p:sp>
      <p:pic>
        <p:nvPicPr>
          <p:cNvPr id="2097154" name="Google Shape;755;g19dcec343aa_7_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 l="4717" r="4716"/>
          <a:stretch>
            <a:fillRect/>
          </a:stretch>
        </p:blipFill>
        <p:spPr>
          <a:xfrm>
            <a:off x="4813248" y="2046878"/>
            <a:ext cx="1797216" cy="2446476"/>
          </a:xfrm>
          <a:prstGeom prst="rect"/>
          <a:noFill/>
          <a:ln>
            <a:noFill/>
          </a:ln>
          <a:effectLst>
            <a:outerShdw algn="tl" blurRad="292100" dir="2700000" dist="139700" rotWithShape="0">
              <a:srgbClr val="333333">
                <a:alpha val="64705"/>
              </a:srgbClr>
            </a:outerShdw>
          </a:effectLst>
        </p:spPr>
      </p:pic>
      <p:grpSp>
        <p:nvGrpSpPr>
          <p:cNvPr id="156" name="Google Shape;756;g19dcec343aa_7_38"/>
          <p:cNvGrpSpPr/>
          <p:nvPr/>
        </p:nvGrpSpPr>
        <p:grpSpPr>
          <a:xfrm>
            <a:off x="8249975" y="3768297"/>
            <a:ext cx="3685838" cy="1233702"/>
            <a:chOff x="8645896" y="4673548"/>
            <a:chExt cx="3956106" cy="1324165"/>
          </a:xfrm>
        </p:grpSpPr>
        <p:pic>
          <p:nvPicPr>
            <p:cNvPr id="2097155" name="Google Shape;757;g19dcec343aa_7_38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 t="6456" b="6457"/>
            <a:stretch>
              <a:fillRect/>
            </a:stretch>
          </p:blipFill>
          <p:spPr>
            <a:xfrm>
              <a:off x="8645896" y="4673548"/>
              <a:ext cx="3956106" cy="1158453"/>
            </a:xfrm>
            <a:prstGeom prst="rect"/>
            <a:noFill/>
            <a:ln>
              <a:noFill/>
            </a:ln>
          </p:spPr>
        </p:pic>
        <p:grpSp>
          <p:nvGrpSpPr>
            <p:cNvPr id="157" name="Google Shape;758;g19dcec343aa_7_38"/>
            <p:cNvGrpSpPr/>
            <p:nvPr/>
          </p:nvGrpSpPr>
          <p:grpSpPr>
            <a:xfrm>
              <a:off x="8691024" y="4852689"/>
              <a:ext cx="3436726" cy="1145024"/>
              <a:chOff x="-1348791" y="46031"/>
              <a:chExt cx="7435174" cy="2234761"/>
            </a:xfrm>
          </p:grpSpPr>
          <p:sp>
            <p:nvSpPr>
              <p:cNvPr id="1048650" name="Google Shape;759;g19dcec343aa_7_38"/>
              <p:cNvSpPr txBox="1"/>
              <p:nvPr/>
            </p:nvSpPr>
            <p:spPr>
              <a:xfrm>
                <a:off x="757560" y="617747"/>
                <a:ext cx="2951264" cy="1277005"/>
              </a:xfrm>
              <a:prstGeom prst="rect"/>
              <a:noFill/>
              <a:ln>
                <a:noFill/>
              </a:ln>
            </p:spPr>
            <p:txBody>
              <a:bodyPr anchor="t" anchorCtr="0" bIns="0" lIns="0" rIns="0" spcFirstLastPara="1" tIns="0" wrap="square">
                <a:spAutoFit/>
              </a:bodyPr>
              <a:p>
                <a:pPr algn="ctr" indent="0" lvl="0" marL="0" marR="0" rtl="0">
                  <a:lnSpc>
                    <a:spcPct val="253125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b="1" sz="1600" lang="en-ID">
                    <a:solidFill>
                      <a:srgbClr val="A9D3D2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rPr>
                  <a:t>TEACHER</a:t>
                </a:r>
              </a:p>
            </p:txBody>
          </p:sp>
          <p:sp>
            <p:nvSpPr>
              <p:cNvPr id="1048651" name="Google Shape;760;g19dcec343aa_7_38"/>
              <p:cNvSpPr txBox="1"/>
              <p:nvPr/>
            </p:nvSpPr>
            <p:spPr>
              <a:xfrm>
                <a:off x="-1348791" y="46031"/>
                <a:ext cx="7435174" cy="2234761"/>
              </a:xfrm>
              <a:prstGeom prst="rect"/>
              <a:noFill/>
              <a:ln>
                <a:noFill/>
              </a:ln>
            </p:spPr>
            <p:txBody>
              <a:bodyPr anchor="t" anchorCtr="0" bIns="0" lIns="0" rIns="0" spcFirstLastPara="1" tIns="0" wrap="square">
                <a:spAutoFit/>
              </a:bodyPr>
              <a:p>
                <a:pPr algn="ctr" indent="0" lvl="0" marL="0" marR="0" rtl="0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sz="2400" lang="en-ID">
                    <a:solidFill>
                      <a:srgbClr val="65BFBC"/>
                    </a:solidFill>
                    <a:latin typeface="Pompiere"/>
                    <a:ea typeface="Pompiere"/>
                    <a:cs typeface="Pompiere"/>
                    <a:sym typeface="Pompiere"/>
                  </a:rPr>
                  <a:t>Natalia Dinda S.P | Team</a:t>
                </a:r>
              </a:p>
            </p:txBody>
          </p:sp>
        </p:grpSp>
      </p:grpSp>
      <p:grpSp>
        <p:nvGrpSpPr>
          <p:cNvPr id="158" name="Google Shape;761;g19dcec343aa_7_38"/>
          <p:cNvGrpSpPr/>
          <p:nvPr/>
        </p:nvGrpSpPr>
        <p:grpSpPr>
          <a:xfrm>
            <a:off x="3861505" y="4100542"/>
            <a:ext cx="3956107" cy="1158453"/>
            <a:chOff x="8645896" y="4673548"/>
            <a:chExt cx="3956106" cy="1158453"/>
          </a:xfrm>
        </p:grpSpPr>
        <p:pic>
          <p:nvPicPr>
            <p:cNvPr id="2097156" name="Google Shape;762;g19dcec343aa_7_38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 t="6456" b="6457"/>
            <a:stretch>
              <a:fillRect/>
            </a:stretch>
          </p:blipFill>
          <p:spPr>
            <a:xfrm>
              <a:off x="8645896" y="4673548"/>
              <a:ext cx="3956106" cy="1158453"/>
            </a:xfrm>
            <a:prstGeom prst="rect"/>
            <a:noFill/>
            <a:ln>
              <a:noFill/>
            </a:ln>
          </p:spPr>
        </p:pic>
        <p:grpSp>
          <p:nvGrpSpPr>
            <p:cNvPr id="159" name="Google Shape;763;g19dcec343aa_7_38"/>
            <p:cNvGrpSpPr/>
            <p:nvPr/>
          </p:nvGrpSpPr>
          <p:grpSpPr>
            <a:xfrm>
              <a:off x="8691024" y="4852689"/>
              <a:ext cx="3481854" cy="905635"/>
              <a:chOff x="-1348791" y="46031"/>
              <a:chExt cx="7532806" cy="1767539"/>
            </a:xfrm>
          </p:grpSpPr>
          <p:sp>
            <p:nvSpPr>
              <p:cNvPr id="1048652" name="Google Shape;764;g19dcec343aa_7_38"/>
              <p:cNvSpPr txBox="1"/>
              <p:nvPr/>
            </p:nvSpPr>
            <p:spPr>
              <a:xfrm>
                <a:off x="-1252371" y="623808"/>
                <a:ext cx="7436386" cy="1189762"/>
              </a:xfrm>
              <a:prstGeom prst="rect"/>
              <a:noFill/>
              <a:ln>
                <a:noFill/>
              </a:ln>
            </p:spPr>
            <p:txBody>
              <a:bodyPr anchor="t" anchorCtr="0" bIns="0" lIns="0" rIns="0" spcFirstLastPara="1" tIns="0" wrap="square">
                <a:spAutoFit/>
              </a:bodyPr>
              <a:p>
                <a:pPr algn="ctr" indent="0" lvl="0" marL="0" marR="0" rtl="0">
                  <a:lnSpc>
                    <a:spcPct val="253125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b="1" sz="1600" lang="en-ID">
                    <a:solidFill>
                      <a:srgbClr val="A9D3D2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rPr>
                  <a:t>DATA ANALYST</a:t>
                </a:r>
              </a:p>
            </p:txBody>
          </p:sp>
          <p:sp>
            <p:nvSpPr>
              <p:cNvPr id="1048653" name="Google Shape;765;g19dcec343aa_7_38"/>
              <p:cNvSpPr txBox="1"/>
              <p:nvPr/>
            </p:nvSpPr>
            <p:spPr>
              <a:xfrm>
                <a:off x="-1348791" y="46031"/>
                <a:ext cx="7435174" cy="1041042"/>
              </a:xfrm>
              <a:prstGeom prst="rect"/>
              <a:noFill/>
              <a:ln>
                <a:noFill/>
              </a:ln>
            </p:spPr>
            <p:txBody>
              <a:bodyPr anchor="t" anchorCtr="0" bIns="0" lIns="0" rIns="0" spcFirstLastPara="1" tIns="0" wrap="square">
                <a:spAutoFit/>
              </a:bodyPr>
              <a:p>
                <a:pPr algn="ctr" indent="0" lvl="0" marL="0" marR="0" rtl="0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sz="2400" lang="en-ID">
                    <a:solidFill>
                      <a:srgbClr val="65BFBC"/>
                    </a:solidFill>
                    <a:latin typeface="Pompiere"/>
                    <a:ea typeface="Pompiere"/>
                    <a:cs typeface="Pompiere"/>
                    <a:sym typeface="Pompiere"/>
                  </a:rPr>
                  <a:t>Nur Amilah | Team</a:t>
                </a:r>
              </a:p>
            </p:txBody>
          </p:sp>
        </p:grpSp>
      </p:grpSp>
      <p:pic>
        <p:nvPicPr>
          <p:cNvPr id="2097157" name="Google Shape;766;g19dcec343aa_7_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5">
            <a:alphaModFix/>
          </a:blip>
          <a:srcRect/>
          <a:stretch>
            <a:fillRect/>
          </a:stretch>
        </p:blipFill>
        <p:spPr>
          <a:xfrm>
            <a:off x="416035" y="2100042"/>
            <a:ext cx="2949973" cy="4145005"/>
          </a:xfrm>
          <a:prstGeom prst="rect"/>
          <a:noFill/>
          <a:ln>
            <a:noFill/>
          </a:ln>
          <a:effectLst>
            <a:outerShdw algn="tl" blurRad="292100" dir="2700000" dist="139700" rotWithShape="0">
              <a:srgbClr val="333333">
                <a:alpha val="64705"/>
              </a:srgbClr>
            </a:outerShdw>
          </a:effectLst>
        </p:spPr>
      </p:pic>
      <p:pic>
        <p:nvPicPr>
          <p:cNvPr id="2097158" name="Google Shape;767;g19dcec343aa_7_3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4">
            <a:alphaModFix/>
          </a:blip>
          <a:srcRect t="6456" b="6457"/>
          <a:stretch>
            <a:fillRect/>
          </a:stretch>
        </p:blipFill>
        <p:spPr>
          <a:xfrm>
            <a:off x="154119" y="5093006"/>
            <a:ext cx="3956107" cy="1340166"/>
          </a:xfrm>
          <a:prstGeom prst="rect"/>
          <a:noFill/>
          <a:ln>
            <a:noFill/>
          </a:ln>
        </p:spPr>
      </p:pic>
      <p:grpSp>
        <p:nvGrpSpPr>
          <p:cNvPr id="160" name="Google Shape;768;g19dcec343aa_7_38"/>
          <p:cNvGrpSpPr/>
          <p:nvPr/>
        </p:nvGrpSpPr>
        <p:grpSpPr>
          <a:xfrm>
            <a:off x="350735" y="5434115"/>
            <a:ext cx="3015873" cy="656151"/>
            <a:chOff x="-27281319" y="1883289"/>
            <a:chExt cx="8912406" cy="995727"/>
          </a:xfrm>
        </p:grpSpPr>
        <p:sp>
          <p:nvSpPr>
            <p:cNvPr id="1048654" name="Google Shape;769;g19dcec343aa_7_38"/>
            <p:cNvSpPr txBox="1"/>
            <p:nvPr/>
          </p:nvSpPr>
          <p:spPr>
            <a:xfrm>
              <a:off x="-27281319" y="2493564"/>
              <a:ext cx="8912406" cy="385452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0625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dirty="0" sz="1600" lang="en-ID">
                  <a:solidFill>
                    <a:srgbClr val="A9D3D2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FREELANCER DATA ANALYST</a:t>
              </a:r>
              <a:endParaRPr dirty="0"/>
            </a:p>
          </p:txBody>
        </p:sp>
        <p:sp>
          <p:nvSpPr>
            <p:cNvPr id="1048655" name="Google Shape;770;g19dcec343aa_7_38"/>
            <p:cNvSpPr txBox="1"/>
            <p:nvPr/>
          </p:nvSpPr>
          <p:spPr>
            <a:xfrm>
              <a:off x="-26956653" y="1883289"/>
              <a:ext cx="8263070" cy="925085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2000" i="0" lang="en-ID" strike="noStrike" u="none">
                  <a:solidFill>
                    <a:srgbClr val="65BFBC"/>
                  </a:solidFill>
                  <a:latin typeface="Pompiere"/>
                  <a:ea typeface="Pompiere"/>
                  <a:cs typeface="Pompiere"/>
                  <a:sym typeface="Pompiere"/>
                </a:rPr>
                <a:t>Archie Citra Muhammad </a:t>
              </a:r>
              <a:r>
                <a:rPr sz="2000" lang="en-ID">
                  <a:solidFill>
                    <a:srgbClr val="65BFBC"/>
                  </a:solidFill>
                  <a:latin typeface="Pompiere"/>
                  <a:ea typeface="Pompiere"/>
                  <a:cs typeface="Pompiere"/>
                  <a:sym typeface="Pompiere"/>
                </a:rPr>
                <a:t>| </a:t>
              </a:r>
              <a:r>
                <a:rPr b="1" sz="2000" lang="en-ID">
                  <a:solidFill>
                    <a:srgbClr val="65BFBC"/>
                  </a:solidFill>
                  <a:latin typeface="Pompiere"/>
                  <a:ea typeface="Pompiere"/>
                  <a:cs typeface="Pompiere"/>
                  <a:sym typeface="Pompiere"/>
                </a:rPr>
                <a:t>Team Lead</a:t>
              </a:r>
            </a:p>
          </p:txBody>
        </p:sp>
      </p:grpSp>
      <p:sp>
        <p:nvSpPr>
          <p:cNvPr id="1048656" name="Google Shape;771;g19dcec343aa_7_38"/>
          <p:cNvSpPr/>
          <p:nvPr/>
        </p:nvSpPr>
        <p:spPr>
          <a:xfrm>
            <a:off x="4191189" y="5295232"/>
            <a:ext cx="3956108" cy="2086148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1" name="Google Shape;772;g19dcec343aa_7_38"/>
          <p:cNvGrpSpPr/>
          <p:nvPr/>
        </p:nvGrpSpPr>
        <p:grpSpPr>
          <a:xfrm>
            <a:off x="5441803" y="6072872"/>
            <a:ext cx="1645423" cy="324361"/>
            <a:chOff x="12234906" y="1943100"/>
            <a:chExt cx="2319294" cy="457200"/>
          </a:xfrm>
        </p:grpSpPr>
        <p:sp>
          <p:nvSpPr>
            <p:cNvPr id="1048657" name="Google Shape;773;g19dcec343aa_7_38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8DA9DB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658" name="Google Shape;774;g19dcec343aa_7_38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659" name="Google Shape;775;g19dcec343aa_7_38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660" name="Google Shape;776;g19dcec343aa_7_38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8661" name="Google Shape;777;g19dcec343aa_7_38"/>
          <p:cNvSpPr/>
          <p:nvPr/>
        </p:nvSpPr>
        <p:spPr>
          <a:xfrm>
            <a:off x="0" y="6424188"/>
            <a:ext cx="3956108" cy="505015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7"/>
                                        <p:tgtEl>
                                          <p:spTgt spid="10486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0"/>
                                        <p:tgtEl>
                                          <p:spTgt spid="10486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3"/>
                                        <p:tgtEl>
                                          <p:spTgt spid="10486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4">
                      <p:stCondLst>
                        <p:cond delay="indefinite"/>
                      </p:stCondLst>
                      <p:childTnLst>
                        <p:par>
                          <p:cTn fill="hold" id="15">
                            <p:stCondLst>
                              <p:cond delay="0"/>
                            </p:stCondLst>
                            <p:childTnLst>
                              <p:par>
                                <p:cTn fill="hold" id="16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8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0" presetSubtype="0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600" id="21"/>
                                        <p:tgtEl>
                                          <p:spTgt spid="2097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2">
                      <p:stCondLst>
                        <p:cond delay="indefinite"/>
                      </p:stCondLst>
                      <p:childTnLst>
                        <p:par>
                          <p:cTn fill="hold" id="23">
                            <p:stCondLst>
                              <p:cond delay="0"/>
                            </p:stCondLst>
                            <p:childTnLst>
                              <p:par>
                                <p:cTn fill="hold" id="24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700" id="26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0" presetSubtype="0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9"/>
                                        <p:tgtEl>
                                          <p:spTgt spid="2097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0">
                      <p:stCondLst>
                        <p:cond delay="indefinite"/>
                      </p:stCondLst>
                      <p:childTnLst>
                        <p:par>
                          <p:cTn fill="hold" id="31">
                            <p:stCondLst>
                              <p:cond delay="0"/>
                            </p:stCondLst>
                            <p:childTnLst>
                              <p:par>
                                <p:cTn fill="hold" id="32" nodeType="clickEffect" presetClass="entr" presetID="10" presetSubtype="0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2097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7"/>
                                        <p:tgtEl>
                                          <p:spTgt spid="2097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02" name="Shape 2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886" name="Google Shape;2243;g19a6bfd5701_2_1102"/>
          <p:cNvSpPr/>
          <p:nvPr/>
        </p:nvSpPr>
        <p:spPr>
          <a:xfrm>
            <a:off x="5923032" y="2425185"/>
            <a:ext cx="6901428" cy="1825304"/>
          </a:xfrm>
          <a:prstGeom prst="roundRect">
            <a:avLst>
              <a:gd name="adj" fmla="val 16667"/>
            </a:avLst>
          </a:prstGeom>
          <a:solidFill>
            <a:srgbClr val="EDEDED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1" marL="182563" marR="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600" i="0" strike="noStrike" u="none">
              <a:solidFill>
                <a:schemeClr val="dk1"/>
              </a:solidFill>
              <a:highlight>
                <a:srgbClr val="000000"/>
              </a:highlight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1049887" name="Google Shape;2244;g19a6bfd5701_2_1102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RFM Segmenta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06" name="Google Shape;2245;g19a6bfd5701_2_1102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r="995"/>
          <a:stretch>
            <a:fillRect/>
          </a:stretch>
        </p:blipFill>
        <p:spPr>
          <a:xfrm>
            <a:off x="449866" y="1695199"/>
            <a:ext cx="6043010" cy="3300700"/>
          </a:xfrm>
          <a:prstGeom prst="rect"/>
          <a:noFill/>
          <a:ln>
            <a:noFill/>
          </a:ln>
        </p:spPr>
      </p:pic>
      <p:sp>
        <p:nvSpPr>
          <p:cNvPr id="1049888" name="Google Shape;2246;g19a6bfd5701_2_1102"/>
          <p:cNvSpPr txBox="1"/>
          <p:nvPr/>
        </p:nvSpPr>
        <p:spPr>
          <a:xfrm>
            <a:off x="7271886" y="2560719"/>
            <a:ext cx="3874770" cy="1513801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</a:t>
            </a:r>
            <a:r>
              <a:rPr b="1" sz="2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FM segment</a:t>
            </a:r>
            <a:r>
              <a:rPr sz="2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s </a:t>
            </a:r>
            <a:r>
              <a:rPr b="1" sz="20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ased on</a:t>
            </a:r>
            <a:r>
              <a:rPr sz="20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cores from the </a:t>
            </a:r>
            <a:r>
              <a:rPr b="1" sz="2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ncy, Frequency, </a:t>
            </a:r>
            <a:r>
              <a:rPr sz="18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b="1" sz="24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netary distribution</a:t>
            </a:r>
            <a:endParaRPr b="1"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889" name="Google Shape;2247;g19a6bfd5701_2_1102"/>
          <p:cNvSpPr/>
          <p:nvPr/>
        </p:nvSpPr>
        <p:spPr>
          <a:xfrm>
            <a:off x="844302" y="5391401"/>
            <a:ext cx="5474970" cy="75684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1" marL="182563" marR="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</a:t>
            </a:r>
            <a:r>
              <a:rPr b="0" cap="none" sz="1600" i="0" lang="en-ID" strike="noStrike" u="none">
                <a:solidFill>
                  <a:srgbClr val="C95B5E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Best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C55A1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Loyal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BF9000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Big Spender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F7F6C6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New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92D050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Promising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92C7A6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Lost Potential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, '</a:t>
            </a:r>
            <a:r>
              <a:rPr b="0" cap="none" sz="1600" i="0" lang="en-ID" strike="noStrike" u="none">
                <a:solidFill>
                  <a:srgbClr val="4E90A8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Lost</a:t>
            </a:r>
            <a:r>
              <a:rPr b="0" cap="none" sz="1600" i="0" lang="en-ID" strike="noStrike" u="none">
                <a:solidFill>
                  <a:schemeClr val="dk1"/>
                </a:solidFill>
                <a:highlight>
                  <a:srgbClr val="000000"/>
                </a:highlight>
                <a:latin typeface="Raleway"/>
                <a:ea typeface="Raleway"/>
                <a:cs typeface="Raleway"/>
                <a:sym typeface="Raleway"/>
              </a:rPr>
              <a:t>'</a:t>
            </a:r>
          </a:p>
        </p:txBody>
      </p:sp>
      <p:sp>
        <p:nvSpPr>
          <p:cNvPr id="1049890" name="Google Shape;2248;g19a6bfd5701_2_1102"/>
          <p:cNvSpPr/>
          <p:nvPr/>
        </p:nvSpPr>
        <p:spPr>
          <a:xfrm>
            <a:off x="987280" y="4623131"/>
            <a:ext cx="5474970" cy="177469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1" marL="182563" marR="0" rtl="0">
              <a:lnSpc>
                <a:spcPct val="135714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600" i="0" strike="noStrike" u="none">
              <a:solidFill>
                <a:schemeClr val="dk1"/>
              </a:solidFill>
              <a:highlight>
                <a:srgbClr val="000000"/>
              </a:highlight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2097207" name="Google Shape;2249;g19a6bfd5701_2_110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 rot="9341543">
            <a:off x="5925866" y="4963772"/>
            <a:ext cx="568140" cy="493698"/>
          </a:xfrm>
          <a:prstGeom prst="rect"/>
          <a:noFill/>
          <a:ln>
            <a:noFill/>
          </a:ln>
        </p:spPr>
      </p:pic>
      <p:grpSp>
        <p:nvGrpSpPr>
          <p:cNvPr id="403" name="Google Shape;2250;g19a6bfd5701_2_1102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891" name="Google Shape;2251;g19a6bfd5701_2_1102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2" name="Google Shape;2252;g19a6bfd5701_2_1102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3" name="Google Shape;2253;g19a6bfd5701_2_1102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4" name="Google Shape;2254;g19a6bfd5701_2_1102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5" name="Google Shape;2255;g19a6bfd5701_2_1102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6" name="Google Shape;2256;g19a6bfd5701_2_1102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7" name="Google Shape;2257;g19a6bfd5701_2_1102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8" name="Google Shape;2258;g19a6bfd5701_2_1102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899" name="Google Shape;2259;g19a6bfd5701_2_1102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0" name="Google Shape;2260;g19a6bfd5701_2_1102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1" name="Google Shape;2261;g19a6bfd5701_2_1102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2" name="Google Shape;2262;g19a6bfd5701_2_1102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04" name="Google Shape;2263;g19a6bfd5701_2_1102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903" name="Google Shape;2264;g19a6bfd5701_2_1102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4" name="Google Shape;2265;g19a6bfd5701_2_1102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5" name="Google Shape;2266;g19a6bfd5701_2_1102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6" name="Google Shape;2267;g19a6bfd5701_2_1102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7" name="Google Shape;2268;g19a6bfd5701_2_1102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08" name="Google Shape;2269;g19a6bfd5701_2_1102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1049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8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07" name="Shape 2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12" name="Google Shape;2275;g19a6bfd5701_2_1113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RFM Segmenta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08" name="Google Shape;2276;g19a6bfd5701_2_1113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9313333" y="2645635"/>
            <a:ext cx="2752178" cy="2290812"/>
          </a:xfrm>
          <a:prstGeom prst="rect"/>
          <a:noFill/>
          <a:ln>
            <a:noFill/>
          </a:ln>
        </p:spPr>
      </p:pic>
      <p:pic>
        <p:nvPicPr>
          <p:cNvPr id="2097209" name="Google Shape;2277;g19a6bfd5701_2_1113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>
            <a:off x="92193" y="2417414"/>
            <a:ext cx="9221140" cy="2899653"/>
          </a:xfrm>
          <a:prstGeom prst="rect"/>
          <a:noFill/>
          <a:ln>
            <a:noFill/>
          </a:ln>
        </p:spPr>
      </p:pic>
      <p:grpSp>
        <p:nvGrpSpPr>
          <p:cNvPr id="408" name="Google Shape;2278;g19a6bfd5701_2_1113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913" name="Google Shape;2279;g19a6bfd5701_2_1113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4" name="Google Shape;2280;g19a6bfd5701_2_1113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5" name="Google Shape;2281;g19a6bfd5701_2_1113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6" name="Google Shape;2282;g19a6bfd5701_2_1113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7" name="Google Shape;2283;g19a6bfd5701_2_1113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8" name="Google Shape;2284;g19a6bfd5701_2_1113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19" name="Google Shape;2285;g19a6bfd5701_2_1113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0" name="Google Shape;2286;g19a6bfd5701_2_1113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1" name="Google Shape;2287;g19a6bfd5701_2_1113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2" name="Google Shape;2288;g19a6bfd5701_2_1113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3" name="Google Shape;2289;g19a6bfd5701_2_1113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4" name="Google Shape;2290;g19a6bfd5701_2_1113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09" name="Google Shape;2291;g19a6bfd5701_2_1113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925" name="Google Shape;2292;g19a6bfd5701_2_1113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6" name="Google Shape;2293;g19a6bfd5701_2_1113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7" name="Google Shape;2294;g19a6bfd5701_2_1113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8" name="Google Shape;2295;g19a6bfd5701_2_1113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29" name="Google Shape;2296;g19a6bfd5701_2_1113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30" name="Google Shape;2297;g19a6bfd5701_2_1113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12" name="Shape 2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34" name="Google Shape;2303;g19a6bfd5701_2_1120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K-Means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10" name="Google Shape;2304;g19a6bfd5701_2_1120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605212" y="1901820"/>
            <a:ext cx="6153162" cy="3739490"/>
          </a:xfrm>
          <a:prstGeom prst="rect"/>
          <a:noFill/>
          <a:ln>
            <a:noFill/>
          </a:ln>
        </p:spPr>
      </p:pic>
      <p:pic>
        <p:nvPicPr>
          <p:cNvPr id="2097211" name="Google Shape;2305;g19a6bfd5701_2_1120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>
            <a:off x="7088573" y="2271755"/>
            <a:ext cx="4299093" cy="2999619"/>
          </a:xfrm>
          <a:prstGeom prst="rect"/>
          <a:noFill/>
          <a:ln>
            <a:noFill/>
          </a:ln>
        </p:spPr>
      </p:pic>
      <p:sp>
        <p:nvSpPr>
          <p:cNvPr id="1049935" name="Google Shape;2306;g19a6bfd5701_2_1120"/>
          <p:cNvSpPr/>
          <p:nvPr/>
        </p:nvSpPr>
        <p:spPr>
          <a:xfrm rot="5400000">
            <a:off x="-443955" y="3727998"/>
            <a:ext cx="3440185" cy="145204"/>
          </a:xfrm>
          <a:prstGeom prst="roundRect">
            <a:avLst>
              <a:gd name="adj" fmla="val 16667"/>
            </a:avLst>
          </a:prstGeom>
          <a:solidFill>
            <a:srgbClr val="FF0000">
              <a:alpha val="15686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936" name="Google Shape;2307;g19a6bfd5701_2_1120"/>
          <p:cNvSpPr/>
          <p:nvPr/>
        </p:nvSpPr>
        <p:spPr>
          <a:xfrm rot="5400000">
            <a:off x="2138305" y="3710392"/>
            <a:ext cx="3440185" cy="145204"/>
          </a:xfrm>
          <a:prstGeom prst="roundRect">
            <a:avLst>
              <a:gd name="adj" fmla="val 16667"/>
            </a:avLst>
          </a:prstGeom>
          <a:solidFill>
            <a:srgbClr val="FF0000">
              <a:alpha val="15686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937" name="Google Shape;2308;g19a6bfd5701_2_1120"/>
          <p:cNvSpPr txBox="1"/>
          <p:nvPr/>
        </p:nvSpPr>
        <p:spPr>
          <a:xfrm>
            <a:off x="1409275" y="1304345"/>
            <a:ext cx="1827822" cy="646331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The best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sz="12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Silhouette Score</a:t>
            </a:r>
          </a:p>
        </p:txBody>
      </p:sp>
      <p:grpSp>
        <p:nvGrpSpPr>
          <p:cNvPr id="413" name="Google Shape;2309;g19a6bfd5701_2_1120"/>
          <p:cNvGrpSpPr/>
          <p:nvPr/>
        </p:nvGrpSpPr>
        <p:grpSpPr>
          <a:xfrm>
            <a:off x="4323033" y="5562471"/>
            <a:ext cx="1010758" cy="707886"/>
            <a:chOff x="3266631" y="5503087"/>
            <a:chExt cx="1010758" cy="707886"/>
          </a:xfrm>
        </p:grpSpPr>
        <p:sp>
          <p:nvSpPr>
            <p:cNvPr id="1049938" name="Google Shape;2310;g19a6bfd5701_2_1120"/>
            <p:cNvSpPr txBox="1"/>
            <p:nvPr/>
          </p:nvSpPr>
          <p:spPr>
            <a:xfrm>
              <a:off x="3266631" y="5682670"/>
              <a:ext cx="951039" cy="461665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Using Clusters</a:t>
              </a:r>
              <a:endParaRPr b="1" sz="12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939" name="Google Shape;2311;g19a6bfd5701_2_1120"/>
            <p:cNvSpPr txBox="1"/>
            <p:nvPr/>
          </p:nvSpPr>
          <p:spPr>
            <a:xfrm>
              <a:off x="3870746" y="5503087"/>
              <a:ext cx="406643" cy="707886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40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5</a:t>
              </a:r>
              <a:endParaRPr sz="4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pic>
        <p:nvPicPr>
          <p:cNvPr id="2097212" name="Google Shape;2312;g19a6bfd5701_2_112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 rot="-9341543" flipH="1">
            <a:off x="3732681" y="5570027"/>
            <a:ext cx="568140" cy="493698"/>
          </a:xfrm>
          <a:prstGeom prst="rect"/>
          <a:noFill/>
          <a:ln>
            <a:noFill/>
          </a:ln>
        </p:spPr>
      </p:pic>
      <p:pic>
        <p:nvPicPr>
          <p:cNvPr id="2097213" name="Google Shape;2313;g19a6bfd5701_2_1120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 rot="-1458457">
            <a:off x="1121856" y="1567946"/>
            <a:ext cx="568140" cy="493698"/>
          </a:xfrm>
          <a:prstGeom prst="rect"/>
          <a:noFill/>
          <a:ln>
            <a:noFill/>
          </a:ln>
        </p:spPr>
      </p:pic>
      <p:grpSp>
        <p:nvGrpSpPr>
          <p:cNvPr id="414" name="Google Shape;2314;g19a6bfd5701_2_1120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940" name="Google Shape;2315;g19a6bfd5701_2_1120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1" name="Google Shape;2316;g19a6bfd5701_2_1120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2" name="Google Shape;2317;g19a6bfd5701_2_1120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3" name="Google Shape;2318;g19a6bfd5701_2_1120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4" name="Google Shape;2319;g19a6bfd5701_2_1120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5" name="Google Shape;2320;g19a6bfd5701_2_1120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6" name="Google Shape;2321;g19a6bfd5701_2_1120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7" name="Google Shape;2322;g19a6bfd5701_2_1120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8" name="Google Shape;2323;g19a6bfd5701_2_1120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49" name="Google Shape;2324;g19a6bfd5701_2_1120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0" name="Google Shape;2325;g19a6bfd5701_2_1120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1" name="Google Shape;2326;g19a6bfd5701_2_1120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15" name="Google Shape;2327;g19a6bfd5701_2_1120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952" name="Google Shape;2328;g19a6bfd5701_2_1120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3" name="Google Shape;2329;g19a6bfd5701_2_1120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4" name="Google Shape;2330;g19a6bfd5701_2_1120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5" name="Google Shape;2331;g19a6bfd5701_2_1120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6" name="Google Shape;2332;g19a6bfd5701_2_1120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57" name="Google Shape;2333;g19a6bfd5701_2_1120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10499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9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4">
                            <p:stCondLst>
                              <p:cond delay="1000"/>
                            </p:stCondLst>
                            <p:childTnLst>
                              <p:par>
                                <p:cTn fill="hold" id="1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7"/>
                                        <p:tgtEl>
                                          <p:spTgt spid="10499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0"/>
                                        <p:tgtEl>
                                          <p:spTgt spid="2097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3"/>
                                        <p:tgtEl>
                                          <p:spTgt spid="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6"/>
                                        <p:tgtEl>
                                          <p:spTgt spid="2097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18" name="Shape 2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" name="Google Shape;2338;g19a6bfd5701_2_1135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961" name="Google Shape;2339;g19a6bfd5701_2_1135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2" name="Google Shape;2340;g19a6bfd5701_2_1135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3" name="Google Shape;2341;g19a6bfd5701_2_1135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4" name="Google Shape;2342;g19a6bfd5701_2_1135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5" name="Google Shape;2343;g19a6bfd5701_2_1135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6" name="Google Shape;2344;g19a6bfd5701_2_1135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7" name="Google Shape;2345;g19a6bfd5701_2_1135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8" name="Google Shape;2346;g19a6bfd5701_2_1135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69" name="Google Shape;2347;g19a6bfd5701_2_1135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0" name="Google Shape;2348;g19a6bfd5701_2_1135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1" name="Google Shape;2349;g19a6bfd5701_2_1135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2" name="Google Shape;2350;g19a6bfd5701_2_1135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973" name="Google Shape;2351;g19a6bfd5701_2_1135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K-Means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14" name="Google Shape;2352;g19a6bfd5701_2_1135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-17475" y="1737774"/>
            <a:ext cx="8972902" cy="3091400"/>
          </a:xfrm>
          <a:prstGeom prst="rect"/>
          <a:noFill/>
          <a:ln>
            <a:noFill/>
          </a:ln>
        </p:spPr>
      </p:pic>
      <p:pic>
        <p:nvPicPr>
          <p:cNvPr id="2097215" name="Google Shape;2353;g19a6bfd5701_2_1135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 l="25123" t="9697" r="35299" b="13278"/>
          <a:stretch>
            <a:fillRect/>
          </a:stretch>
        </p:blipFill>
        <p:spPr>
          <a:xfrm>
            <a:off x="9124551" y="1837050"/>
            <a:ext cx="3049973" cy="2871965"/>
          </a:xfrm>
          <a:prstGeom prst="rect"/>
          <a:noFill/>
          <a:ln>
            <a:noFill/>
          </a:ln>
        </p:spPr>
      </p:pic>
      <p:pic>
        <p:nvPicPr>
          <p:cNvPr id="2097216" name="Google Shape;2354;g19a6bfd5701_2_1135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 l="84722" t="11528" r="715" b="64600"/>
          <a:stretch>
            <a:fillRect/>
          </a:stretch>
        </p:blipFill>
        <p:spPr>
          <a:xfrm>
            <a:off x="11080675" y="4709025"/>
            <a:ext cx="1093862" cy="845700"/>
          </a:xfrm>
          <a:prstGeom prst="rect"/>
          <a:noFill/>
          <a:ln>
            <a:noFill/>
          </a:ln>
        </p:spPr>
      </p:pic>
      <p:grpSp>
        <p:nvGrpSpPr>
          <p:cNvPr id="420" name="Google Shape;2355;g19a6bfd5701_2_1135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49974" name="Google Shape;2356;g19a6bfd5701_2_1135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5" name="Google Shape;2357;g19a6bfd5701_2_1135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6" name="Google Shape;2358;g19a6bfd5701_2_1135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7" name="Google Shape;2359;g19a6bfd5701_2_1135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8" name="Google Shape;2360;g19a6bfd5701_2_1135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79" name="Google Shape;2361;g19a6bfd5701_2_1135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000" id="7"/>
                                        <p:tgtEl>
                                          <p:spTgt spid="2097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23" name="Shape 2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982" name="Google Shape;2367;g19a6bfd5701_2_1142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Gaussia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17" name="Google Shape;2368;g19a6bfd5701_2_1142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924821" y="1998255"/>
            <a:ext cx="5844279" cy="4085045"/>
          </a:xfrm>
          <a:prstGeom prst="rect"/>
          <a:noFill/>
          <a:ln>
            <a:noFill/>
          </a:ln>
        </p:spPr>
      </p:pic>
      <p:pic>
        <p:nvPicPr>
          <p:cNvPr id="2097218" name="Google Shape;2369;g19a6bfd5701_2_1142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>
            <a:off x="7043433" y="2565506"/>
            <a:ext cx="4205226" cy="2971550"/>
          </a:xfrm>
          <a:prstGeom prst="rect"/>
          <a:noFill/>
          <a:ln>
            <a:noFill/>
          </a:ln>
        </p:spPr>
      </p:pic>
      <p:sp>
        <p:nvSpPr>
          <p:cNvPr id="1049983" name="Google Shape;2370;g19a6bfd5701_2_1142"/>
          <p:cNvSpPr/>
          <p:nvPr/>
        </p:nvSpPr>
        <p:spPr>
          <a:xfrm rot="5400000">
            <a:off x="-294109" y="3998491"/>
            <a:ext cx="3720283" cy="136067"/>
          </a:xfrm>
          <a:prstGeom prst="roundRect">
            <a:avLst>
              <a:gd name="adj" fmla="val 16667"/>
            </a:avLst>
          </a:prstGeom>
          <a:solidFill>
            <a:srgbClr val="FF0000">
              <a:alpha val="15686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984" name="Google Shape;2371;g19a6bfd5701_2_1142"/>
          <p:cNvSpPr/>
          <p:nvPr/>
        </p:nvSpPr>
        <p:spPr>
          <a:xfrm rot="5400000">
            <a:off x="1434799" y="4101799"/>
            <a:ext cx="3513666" cy="136067"/>
          </a:xfrm>
          <a:prstGeom prst="roundRect">
            <a:avLst>
              <a:gd name="adj" fmla="val 16667"/>
            </a:avLst>
          </a:prstGeom>
          <a:solidFill>
            <a:srgbClr val="FF0000">
              <a:alpha val="15686"/>
            </a:srgb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985" name="Google Shape;2372;g19a6bfd5701_2_1142"/>
          <p:cNvSpPr txBox="1"/>
          <p:nvPr/>
        </p:nvSpPr>
        <p:spPr>
          <a:xfrm>
            <a:off x="1717285" y="1362095"/>
            <a:ext cx="1827822" cy="646331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4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The best</a:t>
            </a:r>
            <a:r>
              <a:rPr sz="18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r>
              <a:rPr sz="1200" lang="en-ID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rPr>
              <a:t>Silhouette Score</a:t>
            </a:r>
          </a:p>
        </p:txBody>
      </p:sp>
      <p:grpSp>
        <p:nvGrpSpPr>
          <p:cNvPr id="424" name="Google Shape;2373;g19a6bfd5701_2_1142"/>
          <p:cNvGrpSpPr/>
          <p:nvPr/>
        </p:nvGrpSpPr>
        <p:grpSpPr>
          <a:xfrm>
            <a:off x="3545107" y="5961509"/>
            <a:ext cx="1010758" cy="707886"/>
            <a:chOff x="3266631" y="5503087"/>
            <a:chExt cx="1010758" cy="707886"/>
          </a:xfrm>
        </p:grpSpPr>
        <p:sp>
          <p:nvSpPr>
            <p:cNvPr id="1049986" name="Google Shape;2374;g19a6bfd5701_2_1142"/>
            <p:cNvSpPr txBox="1"/>
            <p:nvPr/>
          </p:nvSpPr>
          <p:spPr>
            <a:xfrm>
              <a:off x="3266631" y="5682670"/>
              <a:ext cx="951039" cy="461665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Using Clusters</a:t>
              </a:r>
              <a:endParaRPr b="1" sz="12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49987" name="Google Shape;2375;g19a6bfd5701_2_1142"/>
            <p:cNvSpPr txBox="1"/>
            <p:nvPr/>
          </p:nvSpPr>
          <p:spPr>
            <a:xfrm>
              <a:off x="3870746" y="5503087"/>
              <a:ext cx="406643" cy="707886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40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4</a:t>
              </a:r>
              <a:endParaRPr sz="40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pic>
        <p:nvPicPr>
          <p:cNvPr id="2097219" name="Google Shape;2376;g19a6bfd5701_2_114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 rot="-9341543" flipH="1">
            <a:off x="3031072" y="5958855"/>
            <a:ext cx="568140" cy="493698"/>
          </a:xfrm>
          <a:prstGeom prst="rect"/>
          <a:noFill/>
          <a:ln>
            <a:noFill/>
          </a:ln>
        </p:spPr>
      </p:pic>
      <p:pic>
        <p:nvPicPr>
          <p:cNvPr id="2097220" name="Google Shape;2377;g19a6bfd5701_2_1142" descr="Panah hijau gambar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 rot="-1458457">
            <a:off x="1429866" y="1625696"/>
            <a:ext cx="568140" cy="493698"/>
          </a:xfrm>
          <a:prstGeom prst="rect"/>
          <a:noFill/>
          <a:ln>
            <a:noFill/>
          </a:ln>
        </p:spPr>
      </p:pic>
      <p:grpSp>
        <p:nvGrpSpPr>
          <p:cNvPr id="425" name="Google Shape;2378;g19a6bfd5701_2_1142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49988" name="Google Shape;2379;g19a6bfd5701_2_1142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89" name="Google Shape;2380;g19a6bfd5701_2_1142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0" name="Google Shape;2381;g19a6bfd5701_2_1142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1" name="Google Shape;2382;g19a6bfd5701_2_1142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2" name="Google Shape;2383;g19a6bfd5701_2_1142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3" name="Google Shape;2384;g19a6bfd5701_2_1142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4" name="Google Shape;2385;g19a6bfd5701_2_1142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5" name="Google Shape;2386;g19a6bfd5701_2_1142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6" name="Google Shape;2387;g19a6bfd5701_2_1142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7" name="Google Shape;2388;g19a6bfd5701_2_1142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8" name="Google Shape;2389;g19a6bfd5701_2_1142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999" name="Google Shape;2390;g19a6bfd5701_2_1142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26" name="Google Shape;2391;g19a6bfd5701_2_1142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50000" name="Google Shape;2392;g19a6bfd5701_2_1142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01" name="Google Shape;2393;g19a6bfd5701_2_1142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02" name="Google Shape;2394;g19a6bfd5701_2_1142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03" name="Google Shape;2395;g19a6bfd5701_2_1142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04" name="Google Shape;2396;g19a6bfd5701_2_1142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05" name="Google Shape;2397;g19a6bfd5701_2_1142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10499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10499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4">
                            <p:stCondLst>
                              <p:cond delay="1000"/>
                            </p:stCondLst>
                            <p:childTnLst>
                              <p:par>
                                <p:cTn fill="hold" id="1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9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2000" id="17"/>
                                        <p:tgtEl>
                                          <p:spTgt spid="10499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0"/>
                                        <p:tgtEl>
                                          <p:spTgt spid="2097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3"/>
                                        <p:tgtEl>
                                          <p:spTgt spid="4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6"/>
                                        <p:tgtEl>
                                          <p:spTgt spid="2097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29" name="Shape 2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" name="Google Shape;2402;g19a6bfd5701_2_1157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50009" name="Google Shape;2403;g19a6bfd5701_2_115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0" name="Google Shape;2404;g19a6bfd5701_2_115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1" name="Google Shape;2405;g19a6bfd5701_2_115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2" name="Google Shape;2406;g19a6bfd5701_2_115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3" name="Google Shape;2407;g19a6bfd5701_2_115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4" name="Google Shape;2408;g19a6bfd5701_2_115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5" name="Google Shape;2409;g19a6bfd5701_2_115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6" name="Google Shape;2410;g19a6bfd5701_2_115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7" name="Google Shape;2411;g19a6bfd5701_2_115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8" name="Google Shape;2412;g19a6bfd5701_2_115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19" name="Google Shape;2413;g19a6bfd5701_2_115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0" name="Google Shape;2414;g19a6bfd5701_2_115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0021" name="Google Shape;2415;g19a6bfd5701_2_1157"/>
          <p:cNvSpPr txBox="1"/>
          <p:nvPr/>
        </p:nvSpPr>
        <p:spPr>
          <a:xfrm>
            <a:off x="0" y="40304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Gaussia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21" name="Google Shape;2416;g19a6bfd5701_2_115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l="25761" t="11328" r="36066" b="12948"/>
          <a:stretch>
            <a:fillRect/>
          </a:stretch>
        </p:blipFill>
        <p:spPr>
          <a:xfrm>
            <a:off x="8483124" y="2052687"/>
            <a:ext cx="2801415" cy="2621400"/>
          </a:xfrm>
          <a:prstGeom prst="rect"/>
          <a:noFill/>
          <a:ln>
            <a:noFill/>
          </a:ln>
        </p:spPr>
      </p:pic>
      <p:pic>
        <p:nvPicPr>
          <p:cNvPr id="2097222" name="Google Shape;2417;g19a6bfd5701_2_115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 l="87941" t="11207" b="14369"/>
          <a:stretch>
            <a:fillRect/>
          </a:stretch>
        </p:blipFill>
        <p:spPr>
          <a:xfrm>
            <a:off x="11379450" y="2052687"/>
            <a:ext cx="812551" cy="2365550"/>
          </a:xfrm>
          <a:prstGeom prst="rect"/>
          <a:noFill/>
          <a:ln>
            <a:noFill/>
          </a:ln>
        </p:spPr>
      </p:pic>
      <p:pic>
        <p:nvPicPr>
          <p:cNvPr id="2097223" name="Google Shape;2418;g19a6bfd5701_2_115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2">
            <a:alphaModFix/>
          </a:blip>
          <a:srcRect/>
          <a:stretch>
            <a:fillRect/>
          </a:stretch>
        </p:blipFill>
        <p:spPr>
          <a:xfrm>
            <a:off x="-958" y="1891787"/>
            <a:ext cx="8483125" cy="2849232"/>
          </a:xfrm>
          <a:prstGeom prst="rect"/>
          <a:noFill/>
          <a:ln>
            <a:noFill/>
          </a:ln>
        </p:spPr>
      </p:pic>
      <p:pic>
        <p:nvPicPr>
          <p:cNvPr id="2097224" name="Google Shape;2419;g19a6bfd5701_2_115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 l="84722" t="11528" r="715" b="64600"/>
          <a:stretch>
            <a:fillRect/>
          </a:stretch>
        </p:blipFill>
        <p:spPr>
          <a:xfrm>
            <a:off x="11098138" y="4418237"/>
            <a:ext cx="1093862" cy="845700"/>
          </a:xfrm>
          <a:prstGeom prst="rect"/>
          <a:noFill/>
          <a:ln>
            <a:noFill/>
          </a:ln>
        </p:spPr>
      </p:pic>
      <p:grpSp>
        <p:nvGrpSpPr>
          <p:cNvPr id="431" name="Google Shape;2420;g19a6bfd5701_2_1157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50022" name="Google Shape;2421;g19a6bfd5701_2_1157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3" name="Google Shape;2422;g19a6bfd5701_2_1157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4" name="Google Shape;2423;g19a6bfd5701_2_1157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5" name="Google Shape;2424;g19a6bfd5701_2_1157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6" name="Google Shape;2425;g19a6bfd5701_2_1157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27" name="Google Shape;2426;g19a6bfd5701_2_1157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2097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2097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34" name="Shape 2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30" name="Google Shape;2432;g19b32c0fc37_0_148"/>
          <p:cNvSpPr txBox="1"/>
          <p:nvPr/>
        </p:nvSpPr>
        <p:spPr>
          <a:xfrm>
            <a:off x="0" y="40304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Summary RFM Segmentation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435" name="Google Shape;2433;g19b32c0fc37_0_148"/>
          <p:cNvGrpSpPr/>
          <p:nvPr/>
        </p:nvGrpSpPr>
        <p:grpSpPr>
          <a:xfrm>
            <a:off x="478155" y="891703"/>
            <a:ext cx="11688476" cy="1726223"/>
            <a:chOff x="478155" y="1040293"/>
            <a:chExt cx="11688476" cy="1726223"/>
          </a:xfrm>
        </p:grpSpPr>
        <p:sp>
          <p:nvSpPr>
            <p:cNvPr id="1050031" name="Google Shape;2434;g19b32c0fc37_0_148"/>
            <p:cNvSpPr txBox="1"/>
            <p:nvPr/>
          </p:nvSpPr>
          <p:spPr>
            <a:xfrm>
              <a:off x="811530" y="1346330"/>
              <a:ext cx="10778400" cy="8457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ctr" indent="0" lvl="0" marL="0" marR="0" rtl="0">
                <a:lnSpc>
                  <a:spcPct val="135714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The </a:t>
              </a: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RFM Segmentation model </a:t>
              </a: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is a model that has the </a:t>
              </a: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highest interpretation </a:t>
              </a: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compared to other models &amp; this model is made with </a:t>
              </a:r>
              <a:r>
                <a:rPr b="1" sz="18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*domain knowledge*</a:t>
              </a:r>
              <a:r>
                <a:rPr sz="1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 that we have</a:t>
              </a:r>
              <a:endParaRPr sz="12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50032" name="Google Shape;2435;g19b32c0fc37_0_148"/>
            <p:cNvSpPr txBox="1"/>
            <p:nvPr/>
          </p:nvSpPr>
          <p:spPr>
            <a:xfrm>
              <a:off x="478155" y="1040293"/>
              <a:ext cx="666900" cy="1170901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7200" lang="en-ID">
                  <a:solidFill>
                    <a:schemeClr val="dk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“</a:t>
              </a:r>
              <a:endParaRPr sz="18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1050033" name="Google Shape;2436;g19b32c0fc37_0_148"/>
            <p:cNvSpPr txBox="1"/>
            <p:nvPr/>
          </p:nvSpPr>
          <p:spPr>
            <a:xfrm>
              <a:off x="11260931" y="1595616"/>
              <a:ext cx="905700" cy="11709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7200" lang="en-ID">
                  <a:solidFill>
                    <a:schemeClr val="dk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”</a:t>
              </a:r>
              <a:endParaRPr sz="7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4194312" name="Google Shape;2437;g19b32c0fc37_0_148"/>
          <p:cNvGraphicFramePr>
            <a:graphicFrameLocks/>
          </p:cNvGraphicFramePr>
          <p:nvPr/>
        </p:nvGraphicFramePr>
        <p:xfrm>
          <a:off x="2748915" y="4789170"/>
          <a:ext cx="6903700" cy="1915160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1028700"/>
                <a:gridCol w="1022975"/>
                <a:gridCol w="897250"/>
                <a:gridCol w="1211575"/>
                <a:gridCol w="1405900"/>
                <a:gridCol w="1337300"/>
              </a:tblGrid>
              <a:tr h="127000"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RFM Segment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ean Recency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ean freq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ean monetary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st payment type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st product buy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Best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7ECF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.625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8.35795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30.96892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Fashion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oyal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3CB48E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4.84630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4.84231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58.280918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aptop &amp; Acc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Big Spender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3.200843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.56741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44.787219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Fashion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New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6B26B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.01013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.00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38.11613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Promising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AA84F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.079341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2.00673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53.928451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ost Potential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D9EEB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8.461999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4.210054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95.30155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Deb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aptop &amp; Acc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127000">
                <a:tc>
                  <a:txBody>
                    <a:bodyPr/>
                    <a:p>
                      <a:pPr algn="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ost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AD1DC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6.132948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.00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141.28164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Cred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oboto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oboto"/>
                          <a:ea typeface="Roboto"/>
                          <a:cs typeface="Roboto"/>
                          <a:sym typeface="Roboto"/>
                        </a:rPr>
                        <a:t>Laptop &amp; Acc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oboto"/>
                        <a:ea typeface="Roboto"/>
                        <a:cs typeface="Roboto"/>
                        <a:sym typeface="Roboto"/>
                      </a:endParaRPr>
                    </a:p>
                  </a:txBody>
                  <a:tcPr marL="76200" marR="76200" marT="38100" marB="381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  <p:pic>
        <p:nvPicPr>
          <p:cNvPr id="2097225" name="Google Shape;2438;g19b32c0fc37_0_148"/>
          <p:cNvPicPr preferRelativeResize="0">
            <a:picLocks/>
          </p:cNvPicPr>
          <p:nvPr/>
        </p:nvPicPr>
        <p:blipFill>
          <a:blip xmlns:r="http://schemas.openxmlformats.org/officeDocument/2006/relationships" r:embed="rId1">
            <a:alphaModFix/>
          </a:blip>
          <a:stretch>
            <a:fillRect/>
          </a:stretch>
        </p:blipFill>
        <p:spPr>
          <a:xfrm>
            <a:off x="514350" y="1985625"/>
            <a:ext cx="3568075" cy="2598271"/>
          </a:xfrm>
          <a:prstGeom prst="rect"/>
          <a:noFill/>
          <a:ln>
            <a:noFill/>
          </a:ln>
        </p:spPr>
      </p:pic>
      <p:pic>
        <p:nvPicPr>
          <p:cNvPr id="2097226" name="Google Shape;2439;g19b32c0fc37_0_148"/>
          <p:cNvPicPr preferRelativeResize="0">
            <a:picLocks/>
          </p:cNvPicPr>
          <p:nvPr/>
        </p:nvPicPr>
        <p:blipFill>
          <a:blip xmlns:r="http://schemas.openxmlformats.org/officeDocument/2006/relationships" r:embed="rId2">
            <a:alphaModFix/>
          </a:blip>
          <a:stretch>
            <a:fillRect/>
          </a:stretch>
        </p:blipFill>
        <p:spPr>
          <a:xfrm>
            <a:off x="4234825" y="1985628"/>
            <a:ext cx="3640692" cy="2651150"/>
          </a:xfrm>
          <a:prstGeom prst="rect"/>
          <a:noFill/>
          <a:ln>
            <a:noFill/>
          </a:ln>
        </p:spPr>
      </p:pic>
      <p:pic>
        <p:nvPicPr>
          <p:cNvPr id="2097227" name="Google Shape;2440;g19b32c0fc37_0_148"/>
          <p:cNvPicPr preferRelativeResize="0">
            <a:picLocks/>
          </p:cNvPicPr>
          <p:nvPr/>
        </p:nvPicPr>
        <p:blipFill>
          <a:blip xmlns:r="http://schemas.openxmlformats.org/officeDocument/2006/relationships" r:embed="rId3">
            <a:alphaModFix/>
          </a:blip>
          <a:stretch>
            <a:fillRect/>
          </a:stretch>
        </p:blipFill>
        <p:spPr>
          <a:xfrm>
            <a:off x="8027929" y="2012245"/>
            <a:ext cx="3640700" cy="2624533"/>
          </a:xfrm>
          <a:prstGeom prst="rect"/>
          <a:noFill/>
          <a:ln>
            <a:noFill/>
          </a:ln>
        </p:spPr>
      </p:pic>
      <p:grpSp>
        <p:nvGrpSpPr>
          <p:cNvPr id="436" name="Google Shape;2441;g19b32c0fc37_0_148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50034" name="Google Shape;2442;g19b32c0fc37_0_148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35" name="Google Shape;2443;g19b32c0fc37_0_148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36" name="Google Shape;2444;g19b32c0fc37_0_148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37" name="Google Shape;2445;g19b32c0fc37_0_148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38" name="Google Shape;2446;g19b32c0fc37_0_148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39" name="Google Shape;2447;g19b32c0fc37_0_148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0" name="Google Shape;2448;g19b32c0fc37_0_148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1" name="Google Shape;2449;g19b32c0fc37_0_148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2" name="Google Shape;2450;g19b32c0fc37_0_148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3" name="Google Shape;2451;g19b32c0fc37_0_148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4" name="Google Shape;2452;g19b32c0fc37_0_148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5" name="Google Shape;2453;g19b32c0fc37_0_148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37" name="Google Shape;2454;g19b32c0fc37_0_148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50046" name="Google Shape;2455;g19b32c0fc37_0_148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7" name="Google Shape;2456;g19b32c0fc37_0_148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8" name="Google Shape;2457;g19b32c0fc37_0_148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49" name="Google Shape;2458;g19b32c0fc37_0_148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50" name="Google Shape;2459;g19b32c0fc37_0_148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51" name="Google Shape;2460;g19b32c0fc37_0_148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2097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2097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2097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4">
                            <p:stCondLst>
                              <p:cond delay="1000"/>
                            </p:stCondLst>
                            <p:childTnLst>
                              <p:par>
                                <p:cTn fill="hold" id="1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4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4900" id="17"/>
                                        <p:tgtEl>
                                          <p:spTgt spid="41943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41" name="Shape 2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55" name="Google Shape;2466;g1a3c0ec783c_4_137"/>
          <p:cNvSpPr txBox="1"/>
          <p:nvPr/>
        </p:nvSpPr>
        <p:spPr>
          <a:xfrm>
            <a:off x="9640107" y="5612495"/>
            <a:ext cx="2381846" cy="801602"/>
          </a:xfrm>
          <a:prstGeom prst="rect"/>
          <a:noFill/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l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24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Summary RFM </a:t>
            </a:r>
          </a:p>
          <a:p>
            <a:pPr algn="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24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Segmentation</a:t>
            </a:r>
            <a:endParaRPr sz="24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50056" name="Google Shape;2467;g1a3c0ec783c_4_137"/>
          <p:cNvSpPr txBox="1"/>
          <p:nvPr/>
        </p:nvSpPr>
        <p:spPr>
          <a:xfrm>
            <a:off x="1358500" y="433622"/>
            <a:ext cx="3339900" cy="4770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7620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500" i="0" lang="en-ID" strike="noStrike" u="none">
                <a:solidFill>
                  <a:srgbClr val="000000"/>
                </a:solidFill>
                <a:latin typeface="Fredoka One"/>
                <a:ea typeface="Fredoka One"/>
                <a:cs typeface="Fredoka One"/>
                <a:sym typeface="Fredoka One"/>
              </a:rPr>
              <a:t>R F M  S E G M E N T</a:t>
            </a:r>
            <a:endParaRPr b="1" sz="25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50057" name="Google Shape;2468;g1a3c0ec783c_4_137"/>
          <p:cNvSpPr txBox="1"/>
          <p:nvPr/>
        </p:nvSpPr>
        <p:spPr>
          <a:xfrm>
            <a:off x="7835032" y="433622"/>
            <a:ext cx="2704500" cy="4770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7620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500" i="0" lang="en-ID" strike="noStrike" u="none">
                <a:solidFill>
                  <a:srgbClr val="000000"/>
                </a:solidFill>
                <a:latin typeface="Fredoka One"/>
                <a:ea typeface="Fredoka One"/>
                <a:cs typeface="Fredoka One"/>
                <a:sym typeface="Fredoka One"/>
              </a:rPr>
              <a:t>S T R A T E G Y</a:t>
            </a:r>
            <a:endParaRPr b="1" sz="25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cxnSp>
        <p:nvCxnSpPr>
          <p:cNvPr id="3145784" name="Google Shape;2469;g1a3c0ec783c_4_137"/>
          <p:cNvCxnSpPr>
            <a:cxnSpLocks/>
          </p:cNvCxnSpPr>
          <p:nvPr/>
        </p:nvCxnSpPr>
        <p:spPr>
          <a:xfrm>
            <a:off x="6122504" y="218660"/>
            <a:ext cx="0" cy="4744279"/>
          </a:xfrm>
          <a:prstGeom prst="straightConnector1"/>
          <a:noFill/>
          <a:ln w="19050" cap="flat" cmpd="sng">
            <a:solidFill>
              <a:srgbClr val="305CBB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45785" name="Google Shape;2470;g1a3c0ec783c_4_137"/>
          <p:cNvCxnSpPr>
            <a:cxnSpLocks/>
          </p:cNvCxnSpPr>
          <p:nvPr/>
        </p:nvCxnSpPr>
        <p:spPr>
          <a:xfrm>
            <a:off x="6294782" y="1250982"/>
            <a:ext cx="0" cy="4723889"/>
          </a:xfrm>
          <a:prstGeom prst="straightConnector1"/>
          <a:noFill/>
          <a:ln w="19050" cap="flat" cmpd="sng">
            <a:solidFill>
              <a:srgbClr val="305CBB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45786" name="Google Shape;2471;g1a3c0ec783c_4_137"/>
          <p:cNvCxnSpPr>
            <a:cxnSpLocks/>
          </p:cNvCxnSpPr>
          <p:nvPr/>
        </p:nvCxnSpPr>
        <p:spPr>
          <a:xfrm rot="10800000">
            <a:off x="10318563" y="6585715"/>
            <a:ext cx="1873437" cy="0"/>
          </a:xfrm>
          <a:prstGeom prst="straightConnector1"/>
          <a:noFill/>
          <a:ln w="28575" cap="flat" cmpd="sng">
            <a:solidFill>
              <a:srgbClr val="305CBB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050058" name="Google Shape;2472;g1a3c0ec783c_4_137"/>
          <p:cNvSpPr/>
          <p:nvPr/>
        </p:nvSpPr>
        <p:spPr>
          <a:xfrm>
            <a:off x="558109" y="1167319"/>
            <a:ext cx="944100" cy="413400"/>
          </a:xfrm>
          <a:prstGeom prst="roundRect">
            <a:avLst>
              <a:gd name="adj" fmla="val 16667"/>
            </a:avLst>
          </a:prstGeom>
          <a:solidFill>
            <a:srgbClr val="FC7ECF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500" lang="en-ID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Best</a:t>
            </a:r>
            <a:endParaRPr b="1" sz="15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59" name="Google Shape;2473;g1a3c0ec783c_4_137"/>
          <p:cNvSpPr txBox="1"/>
          <p:nvPr/>
        </p:nvSpPr>
        <p:spPr>
          <a:xfrm>
            <a:off x="1446675" y="1171025"/>
            <a:ext cx="4437600" cy="4978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7620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Customers who made </a:t>
            </a:r>
            <a:r>
              <a:rPr b="1" sz="115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transactions recently </a:t>
            </a:r>
            <a:r>
              <a:rPr sz="10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made </a:t>
            </a:r>
            <a:r>
              <a:rPr b="1" sz="115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frequent transactions</a:t>
            </a:r>
            <a:r>
              <a:rPr sz="115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sz="10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and had </a:t>
            </a:r>
            <a:r>
              <a:rPr b="1" sz="115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the highest total transactions</a:t>
            </a:r>
            <a:r>
              <a:rPr sz="10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0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60" name="Google Shape;2474;g1a3c0ec783c_4_137"/>
          <p:cNvSpPr/>
          <p:nvPr/>
        </p:nvSpPr>
        <p:spPr>
          <a:xfrm>
            <a:off x="567693" y="1792094"/>
            <a:ext cx="934500" cy="413400"/>
          </a:xfrm>
          <a:prstGeom prst="roundRect">
            <a:avLst>
              <a:gd name="adj" fmla="val 16667"/>
            </a:avLst>
          </a:prstGeom>
          <a:solidFill>
            <a:srgbClr val="3CB48E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500" lang="en-ID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Loyal</a:t>
            </a:r>
            <a:endParaRPr b="1" sz="15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61" name="Google Shape;2475;g1a3c0ec783c_4_137"/>
          <p:cNvSpPr txBox="1"/>
          <p:nvPr/>
        </p:nvSpPr>
        <p:spPr>
          <a:xfrm>
            <a:off x="1549676" y="1877475"/>
            <a:ext cx="4189500" cy="2694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mak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he most frequent transactions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62" name="Google Shape;2476;g1a3c0ec783c_4_137"/>
          <p:cNvSpPr/>
          <p:nvPr/>
        </p:nvSpPr>
        <p:spPr>
          <a:xfrm>
            <a:off x="567692" y="2378533"/>
            <a:ext cx="934500" cy="413400"/>
          </a:xfrm>
          <a:prstGeom prst="roundRect">
            <a:avLst>
              <a:gd name="adj" fmla="val 16667"/>
            </a:avLst>
          </a:prstGeom>
          <a:solidFill>
            <a:srgbClr val="B4A7D6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200" i="0" lang="en-ID" strike="noStrike" u="none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Big Spender</a:t>
            </a:r>
            <a:endParaRPr b="1" sz="12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63" name="Google Shape;2477;g1a3c0ec783c_4_137"/>
          <p:cNvSpPr txBox="1"/>
          <p:nvPr/>
        </p:nvSpPr>
        <p:spPr>
          <a:xfrm>
            <a:off x="1549669" y="2465969"/>
            <a:ext cx="3753900" cy="2694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hav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he highest total transactions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64" name="Google Shape;2478;g1a3c0ec783c_4_137"/>
          <p:cNvSpPr/>
          <p:nvPr/>
        </p:nvSpPr>
        <p:spPr>
          <a:xfrm>
            <a:off x="558135" y="2969185"/>
            <a:ext cx="944100" cy="413400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500" i="0" lang="en-ID" strike="noStrike" u="none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New</a:t>
            </a:r>
            <a:endParaRPr b="1" sz="15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65" name="Google Shape;2479;g1a3c0ec783c_4_137"/>
          <p:cNvSpPr txBox="1"/>
          <p:nvPr/>
        </p:nvSpPr>
        <p:spPr>
          <a:xfrm>
            <a:off x="1534549" y="2961925"/>
            <a:ext cx="4334700" cy="4978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cently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made a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ransaction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and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nly made one transaction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66" name="Google Shape;2480;g1a3c0ec783c_4_137"/>
          <p:cNvSpPr/>
          <p:nvPr/>
        </p:nvSpPr>
        <p:spPr>
          <a:xfrm>
            <a:off x="554005" y="3549133"/>
            <a:ext cx="948300" cy="413400"/>
          </a:xfrm>
          <a:prstGeom prst="roundRect">
            <a:avLst>
              <a:gd name="adj" fmla="val 16667"/>
            </a:avLst>
          </a:prstGeom>
          <a:solidFill>
            <a:srgbClr val="6AA84F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200" i="0" lang="en-ID" strike="noStrike" u="none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Promising</a:t>
            </a:r>
            <a:endParaRPr b="1" sz="12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67" name="Google Shape;2481;g1a3c0ec783c_4_137"/>
          <p:cNvSpPr txBox="1"/>
          <p:nvPr/>
        </p:nvSpPr>
        <p:spPr>
          <a:xfrm>
            <a:off x="1520150" y="3464100"/>
            <a:ext cx="4334700" cy="6629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cently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ade transactions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s well as the frequency 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nd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otal transactions above the average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of other customers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68" name="Google Shape;2482;g1a3c0ec783c_4_137"/>
          <p:cNvSpPr/>
          <p:nvPr/>
        </p:nvSpPr>
        <p:spPr>
          <a:xfrm>
            <a:off x="547341" y="4206008"/>
            <a:ext cx="975300" cy="413400"/>
          </a:xfrm>
          <a:prstGeom prst="roundRect">
            <a:avLst>
              <a:gd name="adj" fmla="val 16667"/>
            </a:avLst>
          </a:prstGeom>
          <a:solidFill>
            <a:srgbClr val="6D9EEB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200" i="0" lang="en-ID" strike="noStrike" u="none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Lost Potential</a:t>
            </a:r>
            <a:endParaRPr b="1" sz="12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69" name="Google Shape;2483;g1a3c0ec783c_4_137"/>
          <p:cNvSpPr/>
          <p:nvPr/>
        </p:nvSpPr>
        <p:spPr>
          <a:xfrm>
            <a:off x="554005" y="4904918"/>
            <a:ext cx="957900" cy="413400"/>
          </a:xfrm>
          <a:prstGeom prst="roundRect">
            <a:avLst>
              <a:gd name="adj" fmla="val 16667"/>
            </a:avLst>
          </a:prstGeom>
          <a:solidFill>
            <a:srgbClr val="EAD1DC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500" i="0" lang="en-ID" strike="noStrike" u="none">
                <a:solidFill>
                  <a:schemeClr val="lt1"/>
                </a:solidFill>
                <a:latin typeface="Lustria"/>
                <a:ea typeface="Lustria"/>
                <a:cs typeface="Lustria"/>
                <a:sym typeface="Lustria"/>
              </a:rPr>
              <a:t>Lost</a:t>
            </a:r>
            <a:endParaRPr b="1" sz="1500">
              <a:solidFill>
                <a:schemeClr val="lt1"/>
              </a:solidFill>
              <a:latin typeface="Lustria"/>
              <a:ea typeface="Lustria"/>
              <a:cs typeface="Lustria"/>
              <a:sym typeface="Lustria"/>
            </a:endParaRPr>
          </a:p>
        </p:txBody>
      </p:sp>
      <p:sp>
        <p:nvSpPr>
          <p:cNvPr id="1050070" name="Google Shape;2484;g1a3c0ec783c_4_137"/>
          <p:cNvSpPr txBox="1"/>
          <p:nvPr/>
        </p:nvSpPr>
        <p:spPr>
          <a:xfrm>
            <a:off x="1549630" y="4118534"/>
            <a:ext cx="4334700" cy="6628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hav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not made transactions for a long time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but th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frequency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and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otal transactions 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r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bove the average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of other customers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1" name="Google Shape;2485;g1a3c0ec783c_4_137"/>
          <p:cNvSpPr txBox="1"/>
          <p:nvPr/>
        </p:nvSpPr>
        <p:spPr>
          <a:xfrm>
            <a:off x="1549675" y="4823075"/>
            <a:ext cx="4334700" cy="497801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ustomers who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haven't made transactions for a long time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nly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made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ne transaction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and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he total 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number of transactions was </a:t>
            </a:r>
            <a:r>
              <a:rPr b="1" sz="115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mall</a:t>
            </a:r>
            <a:r>
              <a:rPr sz="10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2" name="Google Shape;2486;g1a3c0ec783c_4_137"/>
          <p:cNvSpPr txBox="1"/>
          <p:nvPr/>
        </p:nvSpPr>
        <p:spPr>
          <a:xfrm>
            <a:off x="6590965" y="1158644"/>
            <a:ext cx="5112900" cy="523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FC7ECF"/>
                </a:highlight>
                <a:latin typeface="Roboto"/>
                <a:ea typeface="Roboto"/>
                <a:cs typeface="Roboto"/>
                <a:sym typeface="Roboto"/>
              </a:rPr>
              <a:t>Loyalty program/reward points, new product recommendations, and exclusive item offers (Cross / Up Selling Strategy)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3" name="Google Shape;2487;g1a3c0ec783c_4_137"/>
          <p:cNvSpPr txBox="1"/>
          <p:nvPr/>
        </p:nvSpPr>
        <p:spPr>
          <a:xfrm>
            <a:off x="6590965" y="1793541"/>
            <a:ext cx="4863300" cy="523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3CB48E"/>
                </a:highlight>
                <a:latin typeface="Roboto"/>
                <a:ea typeface="Roboto"/>
                <a:cs typeface="Roboto"/>
                <a:sym typeface="Roboto"/>
              </a:rPr>
              <a:t>Loyalty program/reward point and exclusive item offers (Cross / Up Selling Strategy)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4" name="Google Shape;2488;g1a3c0ec783c_4_137"/>
          <p:cNvSpPr txBox="1"/>
          <p:nvPr/>
        </p:nvSpPr>
        <p:spPr>
          <a:xfrm>
            <a:off x="6590965" y="2371073"/>
            <a:ext cx="4766700" cy="7009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100" lang="en-ID">
                <a:solidFill>
                  <a:schemeClr val="dk1"/>
                </a:solidFill>
                <a:highlight>
                  <a:srgbClr val="B4A7D6"/>
                </a:highlight>
                <a:latin typeface="Roboto"/>
                <a:ea typeface="Roboto"/>
                <a:cs typeface="Roboto"/>
                <a:sym typeface="Roboto"/>
              </a:rPr>
              <a:t>Exclusive product recommendations, partnership/membership (B2B) offers, and wholesale price purchase offers (Cross / Up Selling Strategy).</a:t>
            </a:r>
            <a:endParaRPr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5" name="Google Shape;2489;g1a3c0ec783c_4_137"/>
          <p:cNvSpPr txBox="1"/>
          <p:nvPr/>
        </p:nvSpPr>
        <p:spPr>
          <a:xfrm>
            <a:off x="6621075" y="2968380"/>
            <a:ext cx="4863300" cy="523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F6B26B"/>
                </a:highlight>
                <a:latin typeface="Roboto"/>
                <a:ea typeface="Roboto"/>
                <a:cs typeface="Roboto"/>
                <a:sym typeface="Roboto"/>
              </a:rPr>
              <a:t>Welcome email for relationship building, loyalty program/reward point offers, and discount vouchers (Cross / Up Selling Strategy)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6" name="Google Shape;2490;g1a3c0ec783c_4_137"/>
          <p:cNvSpPr txBox="1"/>
          <p:nvPr/>
        </p:nvSpPr>
        <p:spPr>
          <a:xfrm>
            <a:off x="6599541" y="3610403"/>
            <a:ext cx="5287800" cy="523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6AA84F"/>
                </a:highlight>
                <a:latin typeface="Roboto"/>
                <a:ea typeface="Roboto"/>
                <a:cs typeface="Roboto"/>
                <a:sym typeface="Roboto"/>
              </a:rPr>
              <a:t>Regular limited offers, discount vouchers and cashback via e-mail (Retention Strategy).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7" name="Google Shape;2491;g1a3c0ec783c_4_137"/>
          <p:cNvSpPr txBox="1"/>
          <p:nvPr/>
        </p:nvSpPr>
        <p:spPr>
          <a:xfrm>
            <a:off x="6590965" y="4216795"/>
            <a:ext cx="5040900" cy="5231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6D9EEB"/>
                </a:highlight>
                <a:latin typeface="Roboto"/>
                <a:ea typeface="Roboto"/>
                <a:cs typeface="Roboto"/>
                <a:sym typeface="Roboto"/>
              </a:rPr>
              <a:t>Regular limited offers, discount vouchers and cashback via e-mail (Retention &amp; Reactivate Strategies)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8" name="Google Shape;2492;g1a3c0ec783c_4_137"/>
          <p:cNvSpPr txBox="1"/>
          <p:nvPr/>
        </p:nvSpPr>
        <p:spPr>
          <a:xfrm>
            <a:off x="6590965" y="4978746"/>
            <a:ext cx="4623600" cy="5232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200" lang="en-ID">
                <a:solidFill>
                  <a:schemeClr val="dk1"/>
                </a:solidFill>
                <a:highlight>
                  <a:srgbClr val="EAD1DC"/>
                </a:highlight>
                <a:latin typeface="Roboto"/>
                <a:ea typeface="Roboto"/>
                <a:cs typeface="Roboto"/>
                <a:sym typeface="Roboto"/>
              </a:rPr>
              <a:t>Campaign via e-mail and ask for feedback. (Reactivation Strategy)</a:t>
            </a:r>
            <a:endParaRPr sz="15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079" name="Google Shape;2493;g1a3c0ec783c_4_137"/>
          <p:cNvSpPr/>
          <p:nvPr/>
        </p:nvSpPr>
        <p:spPr>
          <a:xfrm>
            <a:off x="2032000" y="2406650"/>
            <a:ext cx="12192000" cy="457200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9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"/>
                                        <p:tgtEl>
                                          <p:spTgt spid="1050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0"/>
                                        <p:tgtEl>
                                          <p:spTgt spid="1050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3"/>
                                        <p:tgtEl>
                                          <p:spTgt spid="1050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4">
                      <p:stCondLst>
                        <p:cond delay="indefinite"/>
                      </p:stCondLst>
                      <p:childTnLst>
                        <p:par>
                          <p:cTn fill="hold" id="15">
                            <p:stCondLst>
                              <p:cond delay="0"/>
                            </p:stCondLst>
                            <p:childTnLst>
                              <p:par>
                                <p:cTn fill="hold" id="16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8"/>
                                        <p:tgtEl>
                                          <p:spTgt spid="1050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1"/>
                                        <p:tgtEl>
                                          <p:spTgt spid="1050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2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2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4"/>
                                        <p:tgtEl>
                                          <p:spTgt spid="1050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5">
                      <p:stCondLst>
                        <p:cond delay="indefinite"/>
                      </p:stCondLst>
                      <p:childTnLst>
                        <p:par>
                          <p:cTn fill="hold" id="26">
                            <p:stCondLst>
                              <p:cond delay="0"/>
                            </p:stCondLst>
                            <p:childTnLst>
                              <p:par>
                                <p:cTn fill="hold" id="27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9"/>
                                        <p:tgtEl>
                                          <p:spTgt spid="1050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0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3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2"/>
                                        <p:tgtEl>
                                          <p:spTgt spid="1050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3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3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5"/>
                                        <p:tgtEl>
                                          <p:spTgt spid="1050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6">
                      <p:stCondLst>
                        <p:cond delay="indefinite"/>
                      </p:stCondLst>
                      <p:childTnLst>
                        <p:par>
                          <p:cTn fill="hold" id="37">
                            <p:stCondLst>
                              <p:cond delay="0"/>
                            </p:stCondLst>
                            <p:childTnLst>
                              <p:par>
                                <p:cTn fill="hold" id="38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0"/>
                                        <p:tgtEl>
                                          <p:spTgt spid="1050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1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4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3"/>
                                        <p:tgtEl>
                                          <p:spTgt spid="1050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4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6"/>
                                        <p:tgtEl>
                                          <p:spTgt spid="1050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47">
                      <p:stCondLst>
                        <p:cond delay="indefinite"/>
                      </p:stCondLst>
                      <p:childTnLst>
                        <p:par>
                          <p:cTn fill="hold" id="48">
                            <p:stCondLst>
                              <p:cond delay="0"/>
                            </p:stCondLst>
                            <p:childTnLst>
                              <p:par>
                                <p:cTn fill="hold" id="49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1"/>
                                        <p:tgtEl>
                                          <p:spTgt spid="1050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2" nodeType="withEffect" presetClass="entr" presetID="10" presetSubtype="0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5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4"/>
                                        <p:tgtEl>
                                          <p:spTgt spid="10500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5" nodeType="withEffect" presetClass="entr" presetID="10" presetSubtype="0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dur="1" fill="hold" id="5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7"/>
                                        <p:tgtEl>
                                          <p:spTgt spid="1050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58">
                      <p:stCondLst>
                        <p:cond delay="indefinite"/>
                      </p:stCondLst>
                      <p:childTnLst>
                        <p:par>
                          <p:cTn fill="hold" id="59">
                            <p:stCondLst>
                              <p:cond delay="0"/>
                            </p:stCondLst>
                            <p:childTnLst>
                              <p:par>
                                <p:cTn fill="hold" id="60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62"/>
                                        <p:tgtEl>
                                          <p:spTgt spid="10500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63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6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65"/>
                                        <p:tgtEl>
                                          <p:spTgt spid="1050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66" nodeType="withEffect" presetClass="entr" presetID="10" presetSubtype="0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dur="1" fill="hold" id="6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68"/>
                                        <p:tgtEl>
                                          <p:spTgt spid="1050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69">
                      <p:stCondLst>
                        <p:cond delay="indefinite"/>
                      </p:stCondLst>
                      <p:childTnLst>
                        <p:par>
                          <p:cTn fill="hold" id="70">
                            <p:stCondLst>
                              <p:cond delay="0"/>
                            </p:stCondLst>
                            <p:childTnLst>
                              <p:par>
                                <p:cTn fill="hold" id="71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3"/>
                                        <p:tgtEl>
                                          <p:spTgt spid="1050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4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7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6"/>
                                        <p:tgtEl>
                                          <p:spTgt spid="1050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7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7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79"/>
                                        <p:tgtEl>
                                          <p:spTgt spid="1050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</p:bgPr>
    </p:bg>
    <p:spTree>
      <p:nvGrpSpPr>
        <p:cNvPr id="444" name="Shape 2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" name="Google Shape;2498;g19b4d37e0d4_0_67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50083" name="Google Shape;2499;g19b4d37e0d4_0_67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4" name="Google Shape;2500;g19b4d37e0d4_0_67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5" name="Google Shape;2501;g19b4d37e0d4_0_67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6" name="Google Shape;2502;g19b4d37e0d4_0_67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7" name="Google Shape;2503;g19b4d37e0d4_0_67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8" name="Google Shape;2504;g19b4d37e0d4_0_67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89" name="Google Shape;2505;g19b4d37e0d4_0_67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90" name="Google Shape;2506;g19b4d37e0d4_0_67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91" name="Google Shape;2507;g19b4d37e0d4_0_67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92" name="Google Shape;2508;g19b4d37e0d4_0_67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93" name="Google Shape;2509;g19b4d37e0d4_0_67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094" name="Google Shape;2510;g19b4d37e0d4_0_67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097228" name="Google Shape;2511;g19b4d37e0d4_0_67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311629" y="3614709"/>
            <a:ext cx="1316495" cy="1316495"/>
          </a:xfrm>
          <a:prstGeom prst="rect"/>
          <a:noFill/>
          <a:ln>
            <a:noFill/>
          </a:ln>
        </p:spPr>
      </p:pic>
      <p:grpSp>
        <p:nvGrpSpPr>
          <p:cNvPr id="446" name="Google Shape;2512;g19b4d37e0d4_0_67"/>
          <p:cNvGrpSpPr/>
          <p:nvPr/>
        </p:nvGrpSpPr>
        <p:grpSpPr>
          <a:xfrm>
            <a:off x="1959864" y="3121894"/>
            <a:ext cx="554043" cy="554043"/>
            <a:chOff x="0" y="0"/>
            <a:chExt cx="1108086" cy="1108086"/>
          </a:xfrm>
        </p:grpSpPr>
        <p:pic>
          <p:nvPicPr>
            <p:cNvPr id="2097229" name="Google Shape;2513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2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095" name="Google Shape;2514;g19b4d37e0d4_0_67"/>
            <p:cNvSpPr txBox="1"/>
            <p:nvPr/>
          </p:nvSpPr>
          <p:spPr>
            <a:xfrm>
              <a:off x="164350" y="350749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YES</a:t>
              </a:r>
              <a:endParaRPr sz="900"/>
            </a:p>
          </p:txBody>
        </p:sp>
      </p:grpSp>
      <p:grpSp>
        <p:nvGrpSpPr>
          <p:cNvPr id="447" name="Google Shape;2515;g19b4d37e0d4_0_67"/>
          <p:cNvGrpSpPr/>
          <p:nvPr/>
        </p:nvGrpSpPr>
        <p:grpSpPr>
          <a:xfrm>
            <a:off x="1959864" y="4856157"/>
            <a:ext cx="554043" cy="554043"/>
            <a:chOff x="0" y="0"/>
            <a:chExt cx="1108086" cy="1108086"/>
          </a:xfrm>
        </p:grpSpPr>
        <p:pic>
          <p:nvPicPr>
            <p:cNvPr id="2097230" name="Google Shape;2516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2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096" name="Google Shape;2517;g19b4d37e0d4_0_67"/>
            <p:cNvSpPr txBox="1"/>
            <p:nvPr/>
          </p:nvSpPr>
          <p:spPr>
            <a:xfrm>
              <a:off x="164350" y="354490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O</a:t>
              </a:r>
              <a:endParaRPr sz="900"/>
            </a:p>
          </p:txBody>
        </p:sp>
      </p:grpSp>
      <p:sp>
        <p:nvSpPr>
          <p:cNvPr id="1050097" name="Google Shape;2518;g19b4d37e0d4_0_67"/>
          <p:cNvSpPr/>
          <p:nvPr/>
        </p:nvSpPr>
        <p:spPr>
          <a:xfrm rot="10800000">
            <a:off x="2513861" y="5130560"/>
            <a:ext cx="324600" cy="51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098" name="Google Shape;2519;g19b4d37e0d4_0_67"/>
          <p:cNvSpPr/>
          <p:nvPr/>
        </p:nvSpPr>
        <p:spPr>
          <a:xfrm rot="10800000">
            <a:off x="2513861" y="3396719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grpSp>
        <p:nvGrpSpPr>
          <p:cNvPr id="448" name="Google Shape;2520;g19b4d37e0d4_0_67"/>
          <p:cNvGrpSpPr/>
          <p:nvPr/>
        </p:nvGrpSpPr>
        <p:grpSpPr>
          <a:xfrm>
            <a:off x="3689665" y="2811109"/>
            <a:ext cx="431238" cy="1180200"/>
            <a:chOff x="-40" y="0"/>
            <a:chExt cx="862475" cy="2360400"/>
          </a:xfrm>
        </p:grpSpPr>
        <p:sp>
          <p:nvSpPr>
            <p:cNvPr id="1050099" name="Google Shape;2521;g19b4d37e0d4_0_67"/>
            <p:cNvSpPr/>
            <p:nvPr/>
          </p:nvSpPr>
          <p:spPr>
            <a:xfrm rot="10800000">
              <a:off x="-40" y="1170920"/>
              <a:ext cx="8385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50100" name="Google Shape;2522;g19b4d37e0d4_0_67"/>
            <p:cNvSpPr/>
            <p:nvPr/>
          </p:nvSpPr>
          <p:spPr>
            <a:xfrm rot="5400000">
              <a:off x="-322415" y="1175550"/>
              <a:ext cx="23604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</p:grpSp>
      <p:grpSp>
        <p:nvGrpSpPr>
          <p:cNvPr id="449" name="Google Shape;2523;g19b4d37e0d4_0_67"/>
          <p:cNvGrpSpPr/>
          <p:nvPr/>
        </p:nvGrpSpPr>
        <p:grpSpPr>
          <a:xfrm>
            <a:off x="3841578" y="2257066"/>
            <a:ext cx="554043" cy="554043"/>
            <a:chOff x="0" y="0"/>
            <a:chExt cx="1108086" cy="1108086"/>
          </a:xfrm>
        </p:grpSpPr>
        <p:pic>
          <p:nvPicPr>
            <p:cNvPr id="2097231" name="Google Shape;2524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01" name="Google Shape;2525;g19b4d37e0d4_0_67"/>
            <p:cNvSpPr txBox="1"/>
            <p:nvPr/>
          </p:nvSpPr>
          <p:spPr>
            <a:xfrm>
              <a:off x="164350" y="350749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YES</a:t>
              </a:r>
              <a:endParaRPr sz="900"/>
            </a:p>
          </p:txBody>
        </p:sp>
      </p:grpSp>
      <p:grpSp>
        <p:nvGrpSpPr>
          <p:cNvPr id="450" name="Google Shape;2526;g19b4d37e0d4_0_67"/>
          <p:cNvGrpSpPr/>
          <p:nvPr/>
        </p:nvGrpSpPr>
        <p:grpSpPr>
          <a:xfrm>
            <a:off x="3841578" y="3762729"/>
            <a:ext cx="554043" cy="554043"/>
            <a:chOff x="0" y="0"/>
            <a:chExt cx="1108086" cy="1108086"/>
          </a:xfrm>
        </p:grpSpPr>
        <p:pic>
          <p:nvPicPr>
            <p:cNvPr id="2097232" name="Google Shape;2527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02" name="Google Shape;2528;g19b4d37e0d4_0_67"/>
            <p:cNvSpPr txBox="1"/>
            <p:nvPr/>
          </p:nvSpPr>
          <p:spPr>
            <a:xfrm>
              <a:off x="164350" y="354490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O</a:t>
              </a:r>
              <a:endParaRPr sz="900"/>
            </a:p>
          </p:txBody>
        </p:sp>
      </p:grpSp>
      <p:sp>
        <p:nvSpPr>
          <p:cNvPr id="1050103" name="Google Shape;2529;g19b4d37e0d4_0_67"/>
          <p:cNvSpPr/>
          <p:nvPr/>
        </p:nvSpPr>
        <p:spPr>
          <a:xfrm rot="10800000">
            <a:off x="4395575" y="4039857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04" name="Google Shape;2530;g19b4d37e0d4_0_67"/>
          <p:cNvSpPr/>
          <p:nvPr/>
        </p:nvSpPr>
        <p:spPr>
          <a:xfrm rot="10800000">
            <a:off x="4395575" y="2531891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grpSp>
        <p:nvGrpSpPr>
          <p:cNvPr id="451" name="Google Shape;2531;g19b4d37e0d4_0_67"/>
          <p:cNvGrpSpPr/>
          <p:nvPr/>
        </p:nvGrpSpPr>
        <p:grpSpPr>
          <a:xfrm>
            <a:off x="5565481" y="1941674"/>
            <a:ext cx="431238" cy="1180200"/>
            <a:chOff x="-40" y="0"/>
            <a:chExt cx="862475" cy="2360400"/>
          </a:xfrm>
        </p:grpSpPr>
        <p:sp>
          <p:nvSpPr>
            <p:cNvPr id="1050105" name="Google Shape;2532;g19b4d37e0d4_0_67"/>
            <p:cNvSpPr/>
            <p:nvPr/>
          </p:nvSpPr>
          <p:spPr>
            <a:xfrm rot="10800000">
              <a:off x="-40" y="1180133"/>
              <a:ext cx="8385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50106" name="Google Shape;2533;g19b4d37e0d4_0_67"/>
            <p:cNvSpPr/>
            <p:nvPr/>
          </p:nvSpPr>
          <p:spPr>
            <a:xfrm rot="5400000">
              <a:off x="-322415" y="1175550"/>
              <a:ext cx="23604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</p:grpSp>
      <p:grpSp>
        <p:nvGrpSpPr>
          <p:cNvPr id="452" name="Google Shape;2534;g19b4d37e0d4_0_67"/>
          <p:cNvGrpSpPr/>
          <p:nvPr/>
        </p:nvGrpSpPr>
        <p:grpSpPr>
          <a:xfrm>
            <a:off x="5717393" y="1387631"/>
            <a:ext cx="554043" cy="554043"/>
            <a:chOff x="0" y="0"/>
            <a:chExt cx="1108086" cy="1108086"/>
          </a:xfrm>
        </p:grpSpPr>
        <p:pic>
          <p:nvPicPr>
            <p:cNvPr id="2097233" name="Google Shape;2535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07" name="Google Shape;2536;g19b4d37e0d4_0_67"/>
            <p:cNvSpPr txBox="1"/>
            <p:nvPr/>
          </p:nvSpPr>
          <p:spPr>
            <a:xfrm>
              <a:off x="164350" y="350749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YES</a:t>
              </a:r>
              <a:endParaRPr sz="900"/>
            </a:p>
          </p:txBody>
        </p:sp>
      </p:grpSp>
      <p:grpSp>
        <p:nvGrpSpPr>
          <p:cNvPr id="453" name="Google Shape;2537;g19b4d37e0d4_0_67"/>
          <p:cNvGrpSpPr/>
          <p:nvPr/>
        </p:nvGrpSpPr>
        <p:grpSpPr>
          <a:xfrm>
            <a:off x="5717393" y="3121894"/>
            <a:ext cx="554043" cy="554043"/>
            <a:chOff x="0" y="0"/>
            <a:chExt cx="1108086" cy="1108086"/>
          </a:xfrm>
        </p:grpSpPr>
        <p:pic>
          <p:nvPicPr>
            <p:cNvPr id="2097234" name="Google Shape;2538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08" name="Google Shape;2539;g19b4d37e0d4_0_67"/>
            <p:cNvSpPr txBox="1"/>
            <p:nvPr/>
          </p:nvSpPr>
          <p:spPr>
            <a:xfrm>
              <a:off x="164350" y="354490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O</a:t>
              </a:r>
              <a:endParaRPr sz="900"/>
            </a:p>
          </p:txBody>
        </p:sp>
      </p:grpSp>
      <p:sp>
        <p:nvSpPr>
          <p:cNvPr id="1050109" name="Google Shape;2540;g19b4d37e0d4_0_67"/>
          <p:cNvSpPr/>
          <p:nvPr/>
        </p:nvSpPr>
        <p:spPr>
          <a:xfrm rot="10800000">
            <a:off x="6271391" y="3399022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10" name="Google Shape;2541;g19b4d37e0d4_0_67"/>
          <p:cNvSpPr/>
          <p:nvPr/>
        </p:nvSpPr>
        <p:spPr>
          <a:xfrm rot="10800000">
            <a:off x="6271391" y="1662456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grpSp>
        <p:nvGrpSpPr>
          <p:cNvPr id="454" name="Google Shape;2542;g19b4d37e0d4_0_67"/>
          <p:cNvGrpSpPr/>
          <p:nvPr/>
        </p:nvGrpSpPr>
        <p:grpSpPr>
          <a:xfrm>
            <a:off x="1628125" y="3675937"/>
            <a:ext cx="611100" cy="1180200"/>
            <a:chOff x="0" y="0"/>
            <a:chExt cx="1222200" cy="2360400"/>
          </a:xfrm>
        </p:grpSpPr>
        <p:sp>
          <p:nvSpPr>
            <p:cNvPr id="1050111" name="Google Shape;2543;g19b4d37e0d4_0_67"/>
            <p:cNvSpPr/>
            <p:nvPr/>
          </p:nvSpPr>
          <p:spPr>
            <a:xfrm rot="5400000">
              <a:off x="37278" y="1175550"/>
              <a:ext cx="23604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50112" name="Google Shape;2544;g19b4d37e0d4_0_67"/>
            <p:cNvSpPr/>
            <p:nvPr/>
          </p:nvSpPr>
          <p:spPr>
            <a:xfrm>
              <a:off x="0" y="1174508"/>
              <a:ext cx="1222200" cy="114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</p:grpSp>
      <p:sp>
        <p:nvSpPr>
          <p:cNvPr id="1050113" name="Google Shape;2545;g19b4d37e0d4_0_67"/>
          <p:cNvSpPr txBox="1"/>
          <p:nvPr/>
        </p:nvSpPr>
        <p:spPr>
          <a:xfrm>
            <a:off x="479417" y="3941597"/>
            <a:ext cx="981000" cy="762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002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1900" i="0" lang="en-ID" strike="noStrike" u="none">
                <a:solidFill>
                  <a:srgbClr val="FFFFFF"/>
                </a:solidFill>
              </a:rPr>
              <a:t>Predict Churn</a:t>
            </a:r>
            <a:endParaRPr b="1" sz="1900"/>
          </a:p>
        </p:txBody>
      </p:sp>
      <p:sp>
        <p:nvSpPr>
          <p:cNvPr id="1050114" name="Google Shape;2546;g19b4d37e0d4_0_67"/>
          <p:cNvSpPr txBox="1"/>
          <p:nvPr/>
        </p:nvSpPr>
        <p:spPr>
          <a:xfrm>
            <a:off x="2885800" y="4950850"/>
            <a:ext cx="1428900" cy="635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Survival Analysis</a:t>
            </a:r>
            <a:endParaRPr sz="1300">
              <a:solidFill>
                <a:srgbClr val="191919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is censored?</a:t>
            </a:r>
            <a:endParaRPr sz="1300">
              <a:solidFill>
                <a:srgbClr val="19191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15" name="Google Shape;2547;g19b4d37e0d4_0_67"/>
          <p:cNvSpPr txBox="1"/>
          <p:nvPr/>
        </p:nvSpPr>
        <p:spPr>
          <a:xfrm>
            <a:off x="2847975" y="3256325"/>
            <a:ext cx="864600" cy="3174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Tenure </a:t>
            </a:r>
            <a:r>
              <a:rPr cap="none" sz="1300" i="0" lang="en-ID" strike="noStrike" u="none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&lt; </a:t>
            </a:r>
            <a:r>
              <a:rPr cap="none" sz="1300" i="0" lang="en-ID" strike="noStrike" u="none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16" name="Google Shape;2548;g19b4d37e0d4_0_67"/>
          <p:cNvSpPr txBox="1"/>
          <p:nvPr/>
        </p:nvSpPr>
        <p:spPr>
          <a:xfrm>
            <a:off x="4720175" y="3814500"/>
            <a:ext cx="2523600" cy="635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Proactive communication based on RFM Segmentation</a:t>
            </a:r>
            <a:r>
              <a:rPr cap="none" sz="1300" i="0" lang="en-ID" strike="noStrike" u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17" name="Google Shape;2549;g19b4d37e0d4_0_67"/>
          <p:cNvSpPr txBox="1"/>
          <p:nvPr/>
        </p:nvSpPr>
        <p:spPr>
          <a:xfrm>
            <a:off x="4750518" y="2409725"/>
            <a:ext cx="798000" cy="3175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Complain?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18" name="Google Shape;2550;g19b4d37e0d4_0_67"/>
          <p:cNvSpPr txBox="1"/>
          <p:nvPr/>
        </p:nvSpPr>
        <p:spPr>
          <a:xfrm>
            <a:off x="6643325" y="3161875"/>
            <a:ext cx="2257800" cy="635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Identification customers based on RFM Segmentation</a:t>
            </a:r>
            <a:r>
              <a:rPr cap="none" sz="1300" i="0" lang="en-ID" strike="noStrike" u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19" name="Google Shape;2551;g19b4d37e0d4_0_67"/>
          <p:cNvSpPr txBox="1"/>
          <p:nvPr/>
        </p:nvSpPr>
        <p:spPr>
          <a:xfrm>
            <a:off x="6490925" y="1387900"/>
            <a:ext cx="2624400" cy="1269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sk for customer feedback at regular intervals &amp; Fast Handling Complain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455" name="Google Shape;2552;g19b4d37e0d4_0_67"/>
          <p:cNvGrpSpPr/>
          <p:nvPr/>
        </p:nvGrpSpPr>
        <p:grpSpPr>
          <a:xfrm>
            <a:off x="5746578" y="4543066"/>
            <a:ext cx="554043" cy="554043"/>
            <a:chOff x="0" y="0"/>
            <a:chExt cx="1108086" cy="1108086"/>
          </a:xfrm>
        </p:grpSpPr>
        <p:pic>
          <p:nvPicPr>
            <p:cNvPr id="2097235" name="Google Shape;2553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20" name="Google Shape;2554;g19b4d37e0d4_0_67"/>
            <p:cNvSpPr txBox="1"/>
            <p:nvPr/>
          </p:nvSpPr>
          <p:spPr>
            <a:xfrm>
              <a:off x="164350" y="350749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YES</a:t>
              </a:r>
              <a:endParaRPr sz="900"/>
            </a:p>
          </p:txBody>
        </p:sp>
      </p:grpSp>
      <p:grpSp>
        <p:nvGrpSpPr>
          <p:cNvPr id="456" name="Google Shape;2555;g19b4d37e0d4_0_67"/>
          <p:cNvGrpSpPr/>
          <p:nvPr/>
        </p:nvGrpSpPr>
        <p:grpSpPr>
          <a:xfrm>
            <a:off x="5746578" y="6277329"/>
            <a:ext cx="554043" cy="554043"/>
            <a:chOff x="0" y="0"/>
            <a:chExt cx="1108086" cy="1108086"/>
          </a:xfrm>
        </p:grpSpPr>
        <p:pic>
          <p:nvPicPr>
            <p:cNvPr id="2097236" name="Google Shape;2556;g19b4d37e0d4_0_67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/>
            <a:stretch>
              <a:fillRect/>
            </a:stretch>
          </p:blipFill>
          <p:spPr>
            <a:xfrm>
              <a:off x="0" y="0"/>
              <a:ext cx="1108086" cy="1108086"/>
            </a:xfrm>
            <a:prstGeom prst="rect"/>
            <a:noFill/>
            <a:ln>
              <a:noFill/>
            </a:ln>
          </p:spPr>
        </p:pic>
        <p:sp>
          <p:nvSpPr>
            <p:cNvPr id="1050121" name="Google Shape;2557;g19b4d37e0d4_0_67"/>
            <p:cNvSpPr txBox="1"/>
            <p:nvPr/>
          </p:nvSpPr>
          <p:spPr>
            <a:xfrm>
              <a:off x="164350" y="354490"/>
              <a:ext cx="779400" cy="457200"/>
            </a:xfrm>
            <a:prstGeom prst="rect"/>
            <a:noFill/>
            <a:ln>
              <a:noFill/>
            </a:ln>
          </p:spPr>
          <p:txBody>
            <a:bodyPr anchor="t" anchorCtr="0" bIns="0" lIns="0" rIns="0" spcFirstLastPara="1" tIns="0" wrap="square">
              <a:spAutoFit/>
            </a:bodyPr>
            <a:p>
              <a:pPr algn="ctr" indent="0" lvl="0" marL="0" marR="0" rtl="0">
                <a:lnSpc>
                  <a:spcPct val="13996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cap="none" sz="1100" i="0" lang="en-ID" strike="noStrike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NO</a:t>
              </a:r>
              <a:endParaRPr sz="900"/>
            </a:p>
          </p:txBody>
        </p:sp>
      </p:grpSp>
      <p:grpSp>
        <p:nvGrpSpPr>
          <p:cNvPr id="457" name="Google Shape;2558;g19b4d37e0d4_0_67"/>
          <p:cNvGrpSpPr/>
          <p:nvPr/>
        </p:nvGrpSpPr>
        <p:grpSpPr>
          <a:xfrm>
            <a:off x="5594665" y="5097109"/>
            <a:ext cx="431238" cy="1180200"/>
            <a:chOff x="-40" y="0"/>
            <a:chExt cx="862475" cy="2360400"/>
          </a:xfrm>
        </p:grpSpPr>
        <p:sp>
          <p:nvSpPr>
            <p:cNvPr id="1050122" name="Google Shape;2559;g19b4d37e0d4_0_67"/>
            <p:cNvSpPr/>
            <p:nvPr/>
          </p:nvSpPr>
          <p:spPr>
            <a:xfrm rot="10800000">
              <a:off x="-40" y="1170920"/>
              <a:ext cx="8385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50123" name="Google Shape;2560;g19b4d37e0d4_0_67"/>
            <p:cNvSpPr/>
            <p:nvPr/>
          </p:nvSpPr>
          <p:spPr>
            <a:xfrm rot="5400000">
              <a:off x="-322415" y="1175550"/>
              <a:ext cx="2360400" cy="9300"/>
            </a:xfrm>
            <a:prstGeom prst="rect"/>
            <a:solidFill>
              <a:srgbClr val="191919"/>
            </a:solidFill>
            <a:ln>
              <a:noFill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</p:grpSp>
      <p:sp>
        <p:nvSpPr>
          <p:cNvPr id="1050124" name="Google Shape;2561;g19b4d37e0d4_0_67"/>
          <p:cNvSpPr/>
          <p:nvPr/>
        </p:nvSpPr>
        <p:spPr>
          <a:xfrm rot="10800000">
            <a:off x="6300575" y="6554457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25" name="Google Shape;2562;g19b4d37e0d4_0_67"/>
          <p:cNvSpPr/>
          <p:nvPr/>
        </p:nvSpPr>
        <p:spPr>
          <a:xfrm rot="10800000">
            <a:off x="6300575" y="4817891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26" name="Google Shape;2563;g19b4d37e0d4_0_67"/>
          <p:cNvSpPr txBox="1"/>
          <p:nvPr/>
        </p:nvSpPr>
        <p:spPr>
          <a:xfrm>
            <a:off x="6672534" y="6277600"/>
            <a:ext cx="2857500" cy="635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gular communication based on RFM Segmentation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27" name="Google Shape;2564;g19b4d37e0d4_0_67"/>
          <p:cNvSpPr txBox="1"/>
          <p:nvPr/>
        </p:nvSpPr>
        <p:spPr>
          <a:xfrm>
            <a:off x="6655525" y="4619525"/>
            <a:ext cx="2257800" cy="634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I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entification customers based on RFM Segmentation</a:t>
            </a:r>
            <a:endParaRPr sz="1300">
              <a:solidFill>
                <a:srgbClr val="19191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3145787" name="Google Shape;2565;g19b4d37e0d4_0_67"/>
          <p:cNvCxnSpPr>
            <a:cxnSpLocks/>
            <a:endCxn id="1050122" idx="3"/>
          </p:cNvCxnSpPr>
          <p:nvPr/>
        </p:nvCxnSpPr>
        <p:spPr>
          <a:xfrm>
            <a:off x="4329265" y="5129294"/>
            <a:ext cx="1265400" cy="5556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50128" name="Google Shape;2566;g19b4d37e0d4_0_67"/>
          <p:cNvSpPr txBox="1"/>
          <p:nvPr/>
        </p:nvSpPr>
        <p:spPr>
          <a:xfrm>
            <a:off x="9267725" y="4493800"/>
            <a:ext cx="2857500" cy="81785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spAutoFit/>
          </a:bodyPr>
          <a:p>
            <a:pPr algn="l" indent="0" lvl="0" marL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Preferred Order Category Groceries</a:t>
            </a:r>
            <a:endParaRPr sz="1300">
              <a:solidFill>
                <a:srgbClr val="191919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l" indent="0" lvl="0" marL="0" rtl="0">
              <a:lnSpc>
                <a:spcPct val="1399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sz="1300" lang="en-ID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Payment Credit Card or Debit Card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29" name="Google Shape;2567;g19b4d37e0d4_0_67"/>
          <p:cNvSpPr txBox="1"/>
          <p:nvPr/>
        </p:nvSpPr>
        <p:spPr>
          <a:xfrm>
            <a:off x="-13875" y="6445550"/>
            <a:ext cx="5358000" cy="4002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sp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D"/>
              <a:t>Source : https://whiplash.com/blog/reduce-customer-churn/</a:t>
            </a:r>
          </a:p>
        </p:txBody>
      </p:sp>
      <p:sp>
        <p:nvSpPr>
          <p:cNvPr id="1050130" name="Google Shape;2568;g19b4d37e0d4_0_67"/>
          <p:cNvSpPr/>
          <p:nvPr/>
        </p:nvSpPr>
        <p:spPr>
          <a:xfrm rot="10800000">
            <a:off x="8943125" y="4797266"/>
            <a:ext cx="324600" cy="4500"/>
          </a:xfrm>
          <a:prstGeom prst="rect"/>
          <a:solidFill>
            <a:srgbClr val="191919"/>
          </a:solidFill>
          <a:ln>
            <a:noFill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31" name="Google Shape;2569;g19b4d37e0d4_0_67"/>
          <p:cNvSpPr txBox="1"/>
          <p:nvPr/>
        </p:nvSpPr>
        <p:spPr>
          <a:xfrm>
            <a:off x="0" y="40304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ustomer Churn Treatment</a:t>
            </a:r>
            <a:endParaRPr sz="41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1050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6"/>
                                        <p:tgtEl>
                                          <p:spTgt spid="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9"/>
                                        <p:tgtEl>
                                          <p:spTgt spid="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2"/>
                                        <p:tgtEl>
                                          <p:spTgt spid="1050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5"/>
                                        <p:tgtEl>
                                          <p:spTgt spid="1050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28"/>
                                        <p:tgtEl>
                                          <p:spTgt spid="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1"/>
                                        <p:tgtEl>
                                          <p:spTgt spid="4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4"/>
                                        <p:tgtEl>
                                          <p:spTgt spid="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37"/>
                                        <p:tgtEl>
                                          <p:spTgt spid="1050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0"/>
                                        <p:tgtEl>
                                          <p:spTgt spid="1050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3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6"/>
                                        <p:tgtEl>
                                          <p:spTgt spid="1050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49"/>
                                        <p:tgtEl>
                                          <p:spTgt spid="1050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52"/>
                                        <p:tgtEl>
                                          <p:spTgt spid="1050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55"/>
                                        <p:tgtEl>
                                          <p:spTgt spid="1050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58"/>
                                        <p:tgtEl>
                                          <p:spTgt spid="1050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59">
                      <p:stCondLst>
                        <p:cond delay="indefinite"/>
                      </p:stCondLst>
                      <p:childTnLst>
                        <p:par>
                          <p:cTn fill="hold" id="60">
                            <p:stCondLst>
                              <p:cond delay="0"/>
                            </p:stCondLst>
                            <p:childTnLst>
                              <p:par>
                                <p:cTn fill="hold" id="61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63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6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0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66"/>
                                        <p:tgtEl>
                                          <p:spTgt spid="10500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6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69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2"/>
                                        <p:tgtEl>
                                          <p:spTgt spid="1050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5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6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8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81"/>
                                        <p:tgtEl>
                                          <p:spTgt spid="4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2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84"/>
                                        <p:tgtEl>
                                          <p:spTgt spid="1050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5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87"/>
                                        <p:tgtEl>
                                          <p:spTgt spid="1050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90"/>
                                        <p:tgtEl>
                                          <p:spTgt spid="1050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9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93"/>
                                        <p:tgtEl>
                                          <p:spTgt spid="31457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94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96"/>
                                        <p:tgtEl>
                                          <p:spTgt spid="1050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9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99"/>
                                        <p:tgtEl>
                                          <p:spTgt spid="1050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60" name="Shape 2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3" name="Google Shape;2575;g19a6bfd5701_2_1176"/>
          <p:cNvGraphicFramePr>
            <a:graphicFrameLocks/>
          </p:cNvGraphicFramePr>
          <p:nvPr/>
        </p:nvGraphicFramePr>
        <p:xfrm>
          <a:off x="2895600" y="4129458"/>
          <a:ext cx="5865325" cy="2498275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770775"/>
                <a:gridCol w="708100"/>
                <a:gridCol w="447650"/>
                <a:gridCol w="642175"/>
                <a:gridCol w="470725"/>
                <a:gridCol w="756500"/>
                <a:gridCol w="713600"/>
                <a:gridCol w="656475"/>
                <a:gridCol w="699325"/>
              </a:tblGrid>
              <a:tr h="739500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FM Segmen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FM Segment Score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n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u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ean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ecency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ean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freq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ean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netary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paymen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type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avg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eview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score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produc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buy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Loyal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8E7CC3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6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.0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.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53.38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ash on Delivery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.8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New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3C78D8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4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9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.1052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.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25.271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redit Card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.89473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Promising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AA84F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3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.30434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.34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41.933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ash on Delivery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.6956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  <a:tr h="4443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Lost Potential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06666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8.5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5.5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2.5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E wallet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.000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Mobile Phone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</a:tr>
            </a:tbl>
          </a:graphicData>
        </a:graphic>
      </p:graphicFrame>
      <p:sp>
        <p:nvSpPr>
          <p:cNvPr id="1050134" name="Google Shape;2576;g19a6bfd5701_2_1176"/>
          <p:cNvSpPr txBox="1"/>
          <p:nvPr/>
        </p:nvSpPr>
        <p:spPr>
          <a:xfrm>
            <a:off x="0" y="380187"/>
            <a:ext cx="12192000" cy="73553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Censored Customer Treatment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37" name="Google Shape;2577;g19a6bfd5701_2_1176"/>
          <p:cNvPicPr preferRelativeResize="0">
            <a:picLocks/>
          </p:cNvPicPr>
          <p:nvPr/>
        </p:nvPicPr>
        <p:blipFill>
          <a:blip xmlns:r="http://schemas.openxmlformats.org/officeDocument/2006/relationships" r:embed="rId1">
            <a:alphaModFix/>
          </a:blip>
          <a:stretch>
            <a:fillRect/>
          </a:stretch>
        </p:blipFill>
        <p:spPr>
          <a:xfrm>
            <a:off x="457200" y="1268118"/>
            <a:ext cx="3571433" cy="2632740"/>
          </a:xfrm>
          <a:prstGeom prst="rect"/>
          <a:noFill/>
          <a:ln>
            <a:noFill/>
          </a:ln>
        </p:spPr>
      </p:pic>
      <p:pic>
        <p:nvPicPr>
          <p:cNvPr id="2097238" name="Google Shape;2578;g19a6bfd5701_2_1176"/>
          <p:cNvPicPr preferRelativeResize="0">
            <a:picLocks/>
          </p:cNvPicPr>
          <p:nvPr/>
        </p:nvPicPr>
        <p:blipFill>
          <a:blip xmlns:r="http://schemas.openxmlformats.org/officeDocument/2006/relationships" r:embed="rId2">
            <a:alphaModFix/>
          </a:blip>
          <a:stretch>
            <a:fillRect/>
          </a:stretch>
        </p:blipFill>
        <p:spPr>
          <a:xfrm>
            <a:off x="4181033" y="1268118"/>
            <a:ext cx="3571433" cy="2632740"/>
          </a:xfrm>
          <a:prstGeom prst="rect"/>
          <a:noFill/>
          <a:ln>
            <a:noFill/>
          </a:ln>
        </p:spPr>
      </p:pic>
      <p:pic>
        <p:nvPicPr>
          <p:cNvPr id="2097239" name="Google Shape;2579;g19a6bfd5701_2_1176"/>
          <p:cNvPicPr preferRelativeResize="0">
            <a:picLocks/>
          </p:cNvPicPr>
          <p:nvPr/>
        </p:nvPicPr>
        <p:blipFill>
          <a:blip xmlns:r="http://schemas.openxmlformats.org/officeDocument/2006/relationships" r:embed="rId3">
            <a:alphaModFix/>
          </a:blip>
          <a:stretch>
            <a:fillRect/>
          </a:stretch>
        </p:blipFill>
        <p:spPr>
          <a:xfrm>
            <a:off x="7904866" y="1268118"/>
            <a:ext cx="3652102" cy="2632740"/>
          </a:xfrm>
          <a:prstGeom prst="rect"/>
          <a:noFill/>
          <a:ln>
            <a:noFill/>
          </a:ln>
        </p:spPr>
      </p:pic>
      <p:grpSp>
        <p:nvGrpSpPr>
          <p:cNvPr id="461" name="Google Shape;2580;g19a6bfd5701_2_1176"/>
          <p:cNvGrpSpPr/>
          <p:nvPr/>
        </p:nvGrpSpPr>
        <p:grpSpPr>
          <a:xfrm flipH="1">
            <a:off x="10570440" y="5081327"/>
            <a:ext cx="1359323" cy="1838946"/>
            <a:chOff x="3231057" y="5846468"/>
            <a:chExt cx="1701919" cy="2302424"/>
          </a:xfrm>
        </p:grpSpPr>
        <p:sp>
          <p:nvSpPr>
            <p:cNvPr id="1050135" name="Google Shape;2581;g19a6bfd5701_2_1176"/>
            <p:cNvSpPr/>
            <p:nvPr/>
          </p:nvSpPr>
          <p:spPr>
            <a:xfrm>
              <a:off x="3231057" y="5846468"/>
              <a:ext cx="1594326" cy="2294779"/>
            </a:xfrm>
            <a:custGeom>
              <a:avLst/>
              <a:ahLst/>
              <a:rect l="l" t="t" r="r" b="b"/>
              <a:pathLst>
                <a:path w="45047" h="64838" extrusionOk="0">
                  <a:moveTo>
                    <a:pt x="7664" y="0"/>
                  </a:moveTo>
                  <a:cubicBezTo>
                    <a:pt x="5622" y="0"/>
                    <a:pt x="3546" y="1052"/>
                    <a:pt x="2736" y="2925"/>
                  </a:cubicBezTo>
                  <a:cubicBezTo>
                    <a:pt x="1763" y="5175"/>
                    <a:pt x="2736" y="7789"/>
                    <a:pt x="3952" y="9916"/>
                  </a:cubicBezTo>
                  <a:cubicBezTo>
                    <a:pt x="5715" y="13108"/>
                    <a:pt x="7934" y="16026"/>
                    <a:pt x="10517" y="18549"/>
                  </a:cubicBezTo>
                  <a:cubicBezTo>
                    <a:pt x="10973" y="19005"/>
                    <a:pt x="11490" y="19521"/>
                    <a:pt x="11612" y="20160"/>
                  </a:cubicBezTo>
                  <a:cubicBezTo>
                    <a:pt x="11794" y="21345"/>
                    <a:pt x="10548" y="22257"/>
                    <a:pt x="9393" y="22470"/>
                  </a:cubicBezTo>
                  <a:cubicBezTo>
                    <a:pt x="9084" y="22520"/>
                    <a:pt x="8773" y="22540"/>
                    <a:pt x="8462" y="22540"/>
                  </a:cubicBezTo>
                  <a:cubicBezTo>
                    <a:pt x="7455" y="22540"/>
                    <a:pt x="6439" y="22334"/>
                    <a:pt x="5441" y="22287"/>
                  </a:cubicBezTo>
                  <a:cubicBezTo>
                    <a:pt x="5342" y="22283"/>
                    <a:pt x="5243" y="22280"/>
                    <a:pt x="5142" y="22280"/>
                  </a:cubicBezTo>
                  <a:cubicBezTo>
                    <a:pt x="3888" y="22280"/>
                    <a:pt x="2563" y="22646"/>
                    <a:pt x="1915" y="23716"/>
                  </a:cubicBezTo>
                  <a:cubicBezTo>
                    <a:pt x="973" y="25327"/>
                    <a:pt x="2098" y="27333"/>
                    <a:pt x="3314" y="28731"/>
                  </a:cubicBezTo>
                  <a:cubicBezTo>
                    <a:pt x="5745" y="31528"/>
                    <a:pt x="8663" y="33868"/>
                    <a:pt x="11885" y="35692"/>
                  </a:cubicBezTo>
                  <a:cubicBezTo>
                    <a:pt x="13040" y="36330"/>
                    <a:pt x="14287" y="36938"/>
                    <a:pt x="15138" y="37971"/>
                  </a:cubicBezTo>
                  <a:cubicBezTo>
                    <a:pt x="15989" y="39005"/>
                    <a:pt x="16353" y="40585"/>
                    <a:pt x="15563" y="41680"/>
                  </a:cubicBezTo>
                  <a:cubicBezTo>
                    <a:pt x="15046" y="42376"/>
                    <a:pt x="14189" y="42682"/>
                    <a:pt x="13301" y="42682"/>
                  </a:cubicBezTo>
                  <a:cubicBezTo>
                    <a:pt x="12833" y="42682"/>
                    <a:pt x="12356" y="42597"/>
                    <a:pt x="11916" y="42440"/>
                  </a:cubicBezTo>
                  <a:cubicBezTo>
                    <a:pt x="10669" y="41984"/>
                    <a:pt x="9636" y="41102"/>
                    <a:pt x="8481" y="40464"/>
                  </a:cubicBezTo>
                  <a:cubicBezTo>
                    <a:pt x="7380" y="39828"/>
                    <a:pt x="6065" y="39438"/>
                    <a:pt x="4804" y="39438"/>
                  </a:cubicBezTo>
                  <a:cubicBezTo>
                    <a:pt x="3592" y="39438"/>
                    <a:pt x="2429" y="39798"/>
                    <a:pt x="1551" y="40646"/>
                  </a:cubicBezTo>
                  <a:cubicBezTo>
                    <a:pt x="396" y="41801"/>
                    <a:pt x="1" y="43595"/>
                    <a:pt x="244" y="45236"/>
                  </a:cubicBezTo>
                  <a:cubicBezTo>
                    <a:pt x="487" y="46877"/>
                    <a:pt x="1277" y="48367"/>
                    <a:pt x="2128" y="49765"/>
                  </a:cubicBezTo>
                  <a:cubicBezTo>
                    <a:pt x="5107" y="54659"/>
                    <a:pt x="9271" y="58884"/>
                    <a:pt x="14287" y="61589"/>
                  </a:cubicBezTo>
                  <a:cubicBezTo>
                    <a:pt x="18084" y="63614"/>
                    <a:pt x="21794" y="64838"/>
                    <a:pt x="25799" y="64838"/>
                  </a:cubicBezTo>
                  <a:cubicBezTo>
                    <a:pt x="27084" y="64838"/>
                    <a:pt x="28400" y="64712"/>
                    <a:pt x="29758" y="64446"/>
                  </a:cubicBezTo>
                  <a:lnTo>
                    <a:pt x="29788" y="64446"/>
                  </a:lnTo>
                  <a:cubicBezTo>
                    <a:pt x="39393" y="59795"/>
                    <a:pt x="43132" y="48914"/>
                    <a:pt x="44378" y="38822"/>
                  </a:cubicBezTo>
                  <a:cubicBezTo>
                    <a:pt x="44591" y="37120"/>
                    <a:pt x="45047" y="35388"/>
                    <a:pt x="44500" y="33777"/>
                  </a:cubicBezTo>
                  <a:cubicBezTo>
                    <a:pt x="44003" y="32390"/>
                    <a:pt x="42673" y="31252"/>
                    <a:pt x="41285" y="31252"/>
                  </a:cubicBezTo>
                  <a:cubicBezTo>
                    <a:pt x="41060" y="31252"/>
                    <a:pt x="40834" y="31282"/>
                    <a:pt x="40609" y="31345"/>
                  </a:cubicBezTo>
                  <a:cubicBezTo>
                    <a:pt x="39272" y="31740"/>
                    <a:pt x="38482" y="33108"/>
                    <a:pt x="37600" y="34202"/>
                  </a:cubicBezTo>
                  <a:cubicBezTo>
                    <a:pt x="36415" y="35631"/>
                    <a:pt x="34834" y="36725"/>
                    <a:pt x="33071" y="37333"/>
                  </a:cubicBezTo>
                  <a:cubicBezTo>
                    <a:pt x="32517" y="37508"/>
                    <a:pt x="31915" y="37634"/>
                    <a:pt x="31330" y="37634"/>
                  </a:cubicBezTo>
                  <a:cubicBezTo>
                    <a:pt x="30695" y="37634"/>
                    <a:pt x="30082" y="37485"/>
                    <a:pt x="29576" y="37090"/>
                  </a:cubicBezTo>
                  <a:cubicBezTo>
                    <a:pt x="28269" y="36057"/>
                    <a:pt x="28390" y="34050"/>
                    <a:pt x="28664" y="32348"/>
                  </a:cubicBezTo>
                  <a:cubicBezTo>
                    <a:pt x="29180" y="29248"/>
                    <a:pt x="29697" y="26148"/>
                    <a:pt x="30214" y="23047"/>
                  </a:cubicBezTo>
                  <a:cubicBezTo>
                    <a:pt x="30487" y="21375"/>
                    <a:pt x="30761" y="19673"/>
                    <a:pt x="30518" y="18002"/>
                  </a:cubicBezTo>
                  <a:cubicBezTo>
                    <a:pt x="30244" y="16330"/>
                    <a:pt x="29332" y="14688"/>
                    <a:pt x="27813" y="13989"/>
                  </a:cubicBezTo>
                  <a:cubicBezTo>
                    <a:pt x="27391" y="13795"/>
                    <a:pt x="26925" y="13702"/>
                    <a:pt x="26459" y="13702"/>
                  </a:cubicBezTo>
                  <a:cubicBezTo>
                    <a:pt x="25244" y="13702"/>
                    <a:pt x="24027" y="14336"/>
                    <a:pt x="23588" y="15479"/>
                  </a:cubicBezTo>
                  <a:cubicBezTo>
                    <a:pt x="23344" y="16117"/>
                    <a:pt x="23375" y="16846"/>
                    <a:pt x="23192" y="17546"/>
                  </a:cubicBezTo>
                  <a:cubicBezTo>
                    <a:pt x="23040" y="18214"/>
                    <a:pt x="22615" y="18944"/>
                    <a:pt x="21916" y="19035"/>
                  </a:cubicBezTo>
                  <a:cubicBezTo>
                    <a:pt x="21866" y="19041"/>
                    <a:pt x="21818" y="19045"/>
                    <a:pt x="21769" y="19045"/>
                  </a:cubicBezTo>
                  <a:cubicBezTo>
                    <a:pt x="21136" y="19045"/>
                    <a:pt x="20609" y="18508"/>
                    <a:pt x="20214" y="17971"/>
                  </a:cubicBezTo>
                  <a:cubicBezTo>
                    <a:pt x="18755" y="15995"/>
                    <a:pt x="17934" y="13655"/>
                    <a:pt x="17174" y="11315"/>
                  </a:cubicBezTo>
                  <a:cubicBezTo>
                    <a:pt x="16414" y="8974"/>
                    <a:pt x="15715" y="6603"/>
                    <a:pt x="14438" y="4506"/>
                  </a:cubicBezTo>
                  <a:cubicBezTo>
                    <a:pt x="13162" y="2439"/>
                    <a:pt x="11247" y="646"/>
                    <a:pt x="8876" y="129"/>
                  </a:cubicBezTo>
                  <a:cubicBezTo>
                    <a:pt x="8480" y="43"/>
                    <a:pt x="8073" y="0"/>
                    <a:pt x="766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36" name="Google Shape;2582;g19a6bfd5701_2_1176"/>
            <p:cNvSpPr/>
            <p:nvPr/>
          </p:nvSpPr>
          <p:spPr>
            <a:xfrm>
              <a:off x="3426848" y="5882215"/>
              <a:ext cx="826238" cy="2265615"/>
            </a:xfrm>
            <a:custGeom>
              <a:avLst/>
              <a:ahLst/>
              <a:rect l="l" t="t" r="r" b="b"/>
              <a:pathLst>
                <a:path w="23345" h="64014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61"/>
                    <a:pt x="61" y="122"/>
                    <a:pt x="122" y="183"/>
                  </a:cubicBezTo>
                  <a:lnTo>
                    <a:pt x="548" y="700"/>
                  </a:lnTo>
                  <a:cubicBezTo>
                    <a:pt x="943" y="1155"/>
                    <a:pt x="1490" y="1855"/>
                    <a:pt x="2159" y="2736"/>
                  </a:cubicBezTo>
                  <a:cubicBezTo>
                    <a:pt x="4134" y="5228"/>
                    <a:pt x="5897" y="7873"/>
                    <a:pt x="7448" y="10608"/>
                  </a:cubicBezTo>
                  <a:cubicBezTo>
                    <a:pt x="8451" y="12371"/>
                    <a:pt x="9454" y="14317"/>
                    <a:pt x="10487" y="16444"/>
                  </a:cubicBezTo>
                  <a:cubicBezTo>
                    <a:pt x="11521" y="18572"/>
                    <a:pt x="12645" y="20852"/>
                    <a:pt x="13709" y="23283"/>
                  </a:cubicBezTo>
                  <a:cubicBezTo>
                    <a:pt x="14834" y="25806"/>
                    <a:pt x="15837" y="28420"/>
                    <a:pt x="16688" y="31065"/>
                  </a:cubicBezTo>
                  <a:cubicBezTo>
                    <a:pt x="17144" y="32463"/>
                    <a:pt x="17478" y="33861"/>
                    <a:pt x="17873" y="35320"/>
                  </a:cubicBezTo>
                  <a:cubicBezTo>
                    <a:pt x="18238" y="36779"/>
                    <a:pt x="18603" y="38268"/>
                    <a:pt x="18967" y="39758"/>
                  </a:cubicBezTo>
                  <a:cubicBezTo>
                    <a:pt x="20426" y="45351"/>
                    <a:pt x="21582" y="51035"/>
                    <a:pt x="22402" y="56779"/>
                  </a:cubicBezTo>
                  <a:cubicBezTo>
                    <a:pt x="23071" y="62068"/>
                    <a:pt x="22919" y="59940"/>
                    <a:pt x="22676" y="64013"/>
                  </a:cubicBezTo>
                  <a:lnTo>
                    <a:pt x="22919" y="63983"/>
                  </a:lnTo>
                  <a:cubicBezTo>
                    <a:pt x="23162" y="59940"/>
                    <a:pt x="23344" y="62038"/>
                    <a:pt x="22676" y="56719"/>
                  </a:cubicBezTo>
                  <a:cubicBezTo>
                    <a:pt x="21885" y="50974"/>
                    <a:pt x="20730" y="45290"/>
                    <a:pt x="19302" y="39697"/>
                  </a:cubicBezTo>
                  <a:cubicBezTo>
                    <a:pt x="18907" y="38177"/>
                    <a:pt x="18542" y="36718"/>
                    <a:pt x="18177" y="35259"/>
                  </a:cubicBezTo>
                  <a:cubicBezTo>
                    <a:pt x="17812" y="33800"/>
                    <a:pt x="17448" y="32372"/>
                    <a:pt x="16992" y="30973"/>
                  </a:cubicBezTo>
                  <a:cubicBezTo>
                    <a:pt x="16141" y="28329"/>
                    <a:pt x="15138" y="25715"/>
                    <a:pt x="13983" y="23162"/>
                  </a:cubicBezTo>
                  <a:cubicBezTo>
                    <a:pt x="12919" y="20730"/>
                    <a:pt x="11794" y="18451"/>
                    <a:pt x="10730" y="16323"/>
                  </a:cubicBezTo>
                  <a:cubicBezTo>
                    <a:pt x="9697" y="14195"/>
                    <a:pt x="8663" y="12250"/>
                    <a:pt x="7630" y="10517"/>
                  </a:cubicBezTo>
                  <a:cubicBezTo>
                    <a:pt x="6049" y="7751"/>
                    <a:pt x="4256" y="5137"/>
                    <a:pt x="2280" y="2645"/>
                  </a:cubicBezTo>
                  <a:cubicBezTo>
                    <a:pt x="1551" y="1794"/>
                    <a:pt x="1004" y="1125"/>
                    <a:pt x="608" y="669"/>
                  </a:cubicBezTo>
                  <a:lnTo>
                    <a:pt x="153" y="183"/>
                  </a:lnTo>
                  <a:cubicBezTo>
                    <a:pt x="92" y="122"/>
                    <a:pt x="61" y="6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37" name="Google Shape;2583;g19a6bfd5701_2_1176"/>
            <p:cNvSpPr/>
            <p:nvPr/>
          </p:nvSpPr>
          <p:spPr>
            <a:xfrm>
              <a:off x="4026043" y="6341574"/>
              <a:ext cx="189385" cy="635826"/>
            </a:xfrm>
            <a:custGeom>
              <a:avLst/>
              <a:ahLst/>
              <a:rect l="l" t="t" r="r" b="b"/>
              <a:pathLst>
                <a:path w="5351" h="17965" extrusionOk="0">
                  <a:moveTo>
                    <a:pt x="5351" y="0"/>
                  </a:moveTo>
                  <a:lnTo>
                    <a:pt x="5351" y="0"/>
                  </a:lnTo>
                  <a:cubicBezTo>
                    <a:pt x="5229" y="213"/>
                    <a:pt x="5107" y="456"/>
                    <a:pt x="5016" y="669"/>
                  </a:cubicBezTo>
                  <a:cubicBezTo>
                    <a:pt x="4834" y="1125"/>
                    <a:pt x="4591" y="1763"/>
                    <a:pt x="4287" y="2554"/>
                  </a:cubicBezTo>
                  <a:cubicBezTo>
                    <a:pt x="3709" y="4165"/>
                    <a:pt x="3041" y="6414"/>
                    <a:pt x="2372" y="8906"/>
                  </a:cubicBezTo>
                  <a:cubicBezTo>
                    <a:pt x="1703" y="11429"/>
                    <a:pt x="1126" y="13618"/>
                    <a:pt x="670" y="15320"/>
                  </a:cubicBezTo>
                  <a:lnTo>
                    <a:pt x="153" y="17265"/>
                  </a:lnTo>
                  <a:cubicBezTo>
                    <a:pt x="62" y="17478"/>
                    <a:pt x="1" y="17721"/>
                    <a:pt x="1" y="17964"/>
                  </a:cubicBezTo>
                  <a:cubicBezTo>
                    <a:pt x="92" y="17751"/>
                    <a:pt x="183" y="17508"/>
                    <a:pt x="275" y="17265"/>
                  </a:cubicBezTo>
                  <a:cubicBezTo>
                    <a:pt x="427" y="16839"/>
                    <a:pt x="639" y="16171"/>
                    <a:pt x="882" y="15380"/>
                  </a:cubicBezTo>
                  <a:cubicBezTo>
                    <a:pt x="1399" y="13770"/>
                    <a:pt x="2007" y="11490"/>
                    <a:pt x="2676" y="8997"/>
                  </a:cubicBezTo>
                  <a:cubicBezTo>
                    <a:pt x="3344" y="6475"/>
                    <a:pt x="3983" y="4225"/>
                    <a:pt x="4500" y="2614"/>
                  </a:cubicBezTo>
                  <a:cubicBezTo>
                    <a:pt x="4773" y="1824"/>
                    <a:pt x="4986" y="1155"/>
                    <a:pt x="5138" y="730"/>
                  </a:cubicBezTo>
                  <a:cubicBezTo>
                    <a:pt x="5229" y="487"/>
                    <a:pt x="5290" y="243"/>
                    <a:pt x="535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38" name="Google Shape;2584;g19a6bfd5701_2_1176"/>
            <p:cNvSpPr/>
            <p:nvPr/>
          </p:nvSpPr>
          <p:spPr>
            <a:xfrm>
              <a:off x="3288074" y="6714859"/>
              <a:ext cx="736943" cy="262542"/>
            </a:xfrm>
            <a:custGeom>
              <a:avLst/>
              <a:ahLst/>
              <a:rect l="l" t="t" r="r" b="b"/>
              <a:pathLst>
                <a:path w="20822" h="7418" extrusionOk="0">
                  <a:moveTo>
                    <a:pt x="1" y="1"/>
                  </a:moveTo>
                  <a:lnTo>
                    <a:pt x="1" y="1"/>
                  </a:lnTo>
                  <a:cubicBezTo>
                    <a:pt x="274" y="92"/>
                    <a:pt x="578" y="183"/>
                    <a:pt x="852" y="244"/>
                  </a:cubicBezTo>
                  <a:cubicBezTo>
                    <a:pt x="1399" y="365"/>
                    <a:pt x="2189" y="578"/>
                    <a:pt x="3131" y="852"/>
                  </a:cubicBezTo>
                  <a:cubicBezTo>
                    <a:pt x="5046" y="1368"/>
                    <a:pt x="7691" y="2189"/>
                    <a:pt x="10578" y="3223"/>
                  </a:cubicBezTo>
                  <a:cubicBezTo>
                    <a:pt x="13466" y="4256"/>
                    <a:pt x="16019" y="5289"/>
                    <a:pt x="17843" y="6110"/>
                  </a:cubicBezTo>
                  <a:cubicBezTo>
                    <a:pt x="18785" y="6505"/>
                    <a:pt x="19515" y="6840"/>
                    <a:pt x="20031" y="7083"/>
                  </a:cubicBezTo>
                  <a:cubicBezTo>
                    <a:pt x="20274" y="7235"/>
                    <a:pt x="20548" y="7326"/>
                    <a:pt x="20822" y="7417"/>
                  </a:cubicBezTo>
                  <a:cubicBezTo>
                    <a:pt x="20578" y="7265"/>
                    <a:pt x="20335" y="7113"/>
                    <a:pt x="20062" y="6992"/>
                  </a:cubicBezTo>
                  <a:cubicBezTo>
                    <a:pt x="19575" y="6718"/>
                    <a:pt x="18846" y="6323"/>
                    <a:pt x="17934" y="5897"/>
                  </a:cubicBezTo>
                  <a:cubicBezTo>
                    <a:pt x="16110" y="5046"/>
                    <a:pt x="13557" y="3952"/>
                    <a:pt x="10669" y="2919"/>
                  </a:cubicBezTo>
                  <a:cubicBezTo>
                    <a:pt x="8207" y="2037"/>
                    <a:pt x="5715" y="1277"/>
                    <a:pt x="3192" y="639"/>
                  </a:cubicBezTo>
                  <a:cubicBezTo>
                    <a:pt x="2219" y="396"/>
                    <a:pt x="1399" y="244"/>
                    <a:pt x="852" y="122"/>
                  </a:cubicBezTo>
                  <a:cubicBezTo>
                    <a:pt x="578" y="61"/>
                    <a:pt x="304" y="3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39" name="Google Shape;2585;g19a6bfd5701_2_1176"/>
            <p:cNvSpPr/>
            <p:nvPr/>
          </p:nvSpPr>
          <p:spPr>
            <a:xfrm>
              <a:off x="4221834" y="6964446"/>
              <a:ext cx="536869" cy="910118"/>
            </a:xfrm>
            <a:custGeom>
              <a:avLst/>
              <a:ahLst/>
              <a:rect l="l" t="t" r="r" b="b"/>
              <a:pathLst>
                <a:path w="15169" h="25715" extrusionOk="0">
                  <a:moveTo>
                    <a:pt x="15168" y="0"/>
                  </a:moveTo>
                  <a:lnTo>
                    <a:pt x="15168" y="0"/>
                  </a:lnTo>
                  <a:cubicBezTo>
                    <a:pt x="15168" y="0"/>
                    <a:pt x="15108" y="92"/>
                    <a:pt x="14986" y="244"/>
                  </a:cubicBezTo>
                  <a:cubicBezTo>
                    <a:pt x="14864" y="395"/>
                    <a:pt x="14682" y="669"/>
                    <a:pt x="14500" y="973"/>
                  </a:cubicBezTo>
                  <a:cubicBezTo>
                    <a:pt x="14074" y="1581"/>
                    <a:pt x="13497" y="2523"/>
                    <a:pt x="12767" y="3648"/>
                  </a:cubicBezTo>
                  <a:cubicBezTo>
                    <a:pt x="11339" y="5927"/>
                    <a:pt x="9484" y="9180"/>
                    <a:pt x="7448" y="12766"/>
                  </a:cubicBezTo>
                  <a:cubicBezTo>
                    <a:pt x="5442" y="16353"/>
                    <a:pt x="3588" y="19605"/>
                    <a:pt x="2220" y="21916"/>
                  </a:cubicBezTo>
                  <a:cubicBezTo>
                    <a:pt x="1551" y="23071"/>
                    <a:pt x="1004" y="23982"/>
                    <a:pt x="579" y="24682"/>
                  </a:cubicBezTo>
                  <a:cubicBezTo>
                    <a:pt x="396" y="24955"/>
                    <a:pt x="275" y="25229"/>
                    <a:pt x="153" y="25441"/>
                  </a:cubicBezTo>
                  <a:cubicBezTo>
                    <a:pt x="92" y="25533"/>
                    <a:pt x="31" y="25624"/>
                    <a:pt x="1" y="25715"/>
                  </a:cubicBezTo>
                  <a:cubicBezTo>
                    <a:pt x="92" y="25654"/>
                    <a:pt x="153" y="25563"/>
                    <a:pt x="183" y="25472"/>
                  </a:cubicBezTo>
                  <a:lnTo>
                    <a:pt x="700" y="24742"/>
                  </a:lnTo>
                  <a:cubicBezTo>
                    <a:pt x="1126" y="24134"/>
                    <a:pt x="1703" y="23223"/>
                    <a:pt x="2402" y="22068"/>
                  </a:cubicBezTo>
                  <a:cubicBezTo>
                    <a:pt x="3831" y="19788"/>
                    <a:pt x="5715" y="16536"/>
                    <a:pt x="7721" y="12949"/>
                  </a:cubicBezTo>
                  <a:cubicBezTo>
                    <a:pt x="9758" y="9362"/>
                    <a:pt x="11582" y="6110"/>
                    <a:pt x="12950" y="3800"/>
                  </a:cubicBezTo>
                  <a:lnTo>
                    <a:pt x="14591" y="1034"/>
                  </a:lnTo>
                  <a:lnTo>
                    <a:pt x="15047" y="274"/>
                  </a:lnTo>
                  <a:cubicBezTo>
                    <a:pt x="15108" y="183"/>
                    <a:pt x="15138" y="92"/>
                    <a:pt x="1516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0" name="Google Shape;2586;g19a6bfd5701_2_1176"/>
            <p:cNvSpPr/>
            <p:nvPr/>
          </p:nvSpPr>
          <p:spPr>
            <a:xfrm>
              <a:off x="3264397" y="7388307"/>
              <a:ext cx="957473" cy="486258"/>
            </a:xfrm>
            <a:custGeom>
              <a:avLst/>
              <a:ahLst/>
              <a:rect l="l" t="t" r="r" b="b"/>
              <a:pathLst>
                <a:path w="27053" h="13739" extrusionOk="0">
                  <a:moveTo>
                    <a:pt x="1" y="0"/>
                  </a:moveTo>
                  <a:lnTo>
                    <a:pt x="1" y="0"/>
                  </a:lnTo>
                  <a:cubicBezTo>
                    <a:pt x="92" y="61"/>
                    <a:pt x="183" y="122"/>
                    <a:pt x="274" y="152"/>
                  </a:cubicBezTo>
                  <a:lnTo>
                    <a:pt x="1034" y="578"/>
                  </a:lnTo>
                  <a:lnTo>
                    <a:pt x="3952" y="2067"/>
                  </a:lnTo>
                  <a:cubicBezTo>
                    <a:pt x="6384" y="3313"/>
                    <a:pt x="9758" y="5076"/>
                    <a:pt x="13436" y="7022"/>
                  </a:cubicBezTo>
                  <a:cubicBezTo>
                    <a:pt x="17144" y="8937"/>
                    <a:pt x="20518" y="10699"/>
                    <a:pt x="23010" y="11885"/>
                  </a:cubicBezTo>
                  <a:cubicBezTo>
                    <a:pt x="24226" y="12493"/>
                    <a:pt x="25229" y="12949"/>
                    <a:pt x="25928" y="13283"/>
                  </a:cubicBezTo>
                  <a:lnTo>
                    <a:pt x="26749" y="13617"/>
                  </a:lnTo>
                  <a:cubicBezTo>
                    <a:pt x="26840" y="13678"/>
                    <a:pt x="26931" y="13709"/>
                    <a:pt x="27053" y="13739"/>
                  </a:cubicBezTo>
                  <a:cubicBezTo>
                    <a:pt x="27053" y="13739"/>
                    <a:pt x="26962" y="13678"/>
                    <a:pt x="26779" y="13587"/>
                  </a:cubicBezTo>
                  <a:lnTo>
                    <a:pt x="26020" y="13161"/>
                  </a:lnTo>
                  <a:lnTo>
                    <a:pt x="23132" y="11703"/>
                  </a:lnTo>
                  <a:cubicBezTo>
                    <a:pt x="20670" y="10456"/>
                    <a:pt x="17326" y="8693"/>
                    <a:pt x="13618" y="6718"/>
                  </a:cubicBezTo>
                  <a:cubicBezTo>
                    <a:pt x="9940" y="4772"/>
                    <a:pt x="6536" y="3040"/>
                    <a:pt x="4074" y="1854"/>
                  </a:cubicBezTo>
                  <a:cubicBezTo>
                    <a:pt x="2828" y="1246"/>
                    <a:pt x="1825" y="790"/>
                    <a:pt x="1125" y="456"/>
                  </a:cubicBezTo>
                  <a:lnTo>
                    <a:pt x="335" y="122"/>
                  </a:lnTo>
                  <a:cubicBezTo>
                    <a:pt x="214" y="61"/>
                    <a:pt x="122" y="31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1" name="Google Shape;2587;g19a6bfd5701_2_1176"/>
            <p:cNvSpPr/>
            <p:nvPr/>
          </p:nvSpPr>
          <p:spPr>
            <a:xfrm>
              <a:off x="4002401" y="6360650"/>
              <a:ext cx="930575" cy="1788241"/>
            </a:xfrm>
            <a:custGeom>
              <a:avLst/>
              <a:ahLst/>
              <a:rect l="l" t="t" r="r" b="b"/>
              <a:pathLst>
                <a:path w="26293" h="50526" extrusionOk="0">
                  <a:moveTo>
                    <a:pt x="19392" y="1"/>
                  </a:moveTo>
                  <a:cubicBezTo>
                    <a:pt x="18616" y="1"/>
                    <a:pt x="16692" y="529"/>
                    <a:pt x="15806" y="5510"/>
                  </a:cubicBezTo>
                  <a:cubicBezTo>
                    <a:pt x="14681" y="11863"/>
                    <a:pt x="14590" y="15328"/>
                    <a:pt x="14590" y="15328"/>
                  </a:cubicBezTo>
                  <a:cubicBezTo>
                    <a:pt x="14590" y="15328"/>
                    <a:pt x="14309" y="16324"/>
                    <a:pt x="13618" y="16324"/>
                  </a:cubicBezTo>
                  <a:cubicBezTo>
                    <a:pt x="13490" y="16324"/>
                    <a:pt x="13348" y="16290"/>
                    <a:pt x="13192" y="16209"/>
                  </a:cubicBezTo>
                  <a:cubicBezTo>
                    <a:pt x="12344" y="15785"/>
                    <a:pt x="11065" y="14480"/>
                    <a:pt x="9928" y="14480"/>
                  </a:cubicBezTo>
                  <a:cubicBezTo>
                    <a:pt x="9680" y="14480"/>
                    <a:pt x="9439" y="14542"/>
                    <a:pt x="9210" y="14689"/>
                  </a:cubicBezTo>
                  <a:cubicBezTo>
                    <a:pt x="7934" y="15510"/>
                    <a:pt x="7964" y="17182"/>
                    <a:pt x="8906" y="19401"/>
                  </a:cubicBezTo>
                  <a:cubicBezTo>
                    <a:pt x="9879" y="21589"/>
                    <a:pt x="11824" y="26513"/>
                    <a:pt x="11976" y="26939"/>
                  </a:cubicBezTo>
                  <a:cubicBezTo>
                    <a:pt x="12136" y="27312"/>
                    <a:pt x="12109" y="27919"/>
                    <a:pt x="11587" y="27919"/>
                  </a:cubicBezTo>
                  <a:cubicBezTo>
                    <a:pt x="11514" y="27919"/>
                    <a:pt x="11431" y="27907"/>
                    <a:pt x="11338" y="27881"/>
                  </a:cubicBezTo>
                  <a:cubicBezTo>
                    <a:pt x="10796" y="27708"/>
                    <a:pt x="8219" y="26193"/>
                    <a:pt x="6341" y="26193"/>
                  </a:cubicBezTo>
                  <a:cubicBezTo>
                    <a:pt x="5583" y="26193"/>
                    <a:pt x="4940" y="26439"/>
                    <a:pt x="4590" y="27121"/>
                  </a:cubicBezTo>
                  <a:cubicBezTo>
                    <a:pt x="3344" y="29462"/>
                    <a:pt x="7052" y="35146"/>
                    <a:pt x="7417" y="35784"/>
                  </a:cubicBezTo>
                  <a:cubicBezTo>
                    <a:pt x="7812" y="36422"/>
                    <a:pt x="7782" y="36726"/>
                    <a:pt x="7508" y="37000"/>
                  </a:cubicBezTo>
                  <a:cubicBezTo>
                    <a:pt x="7477" y="37034"/>
                    <a:pt x="7431" y="37050"/>
                    <a:pt x="7371" y="37050"/>
                  </a:cubicBezTo>
                  <a:cubicBezTo>
                    <a:pt x="6895" y="37050"/>
                    <a:pt x="5558" y="36064"/>
                    <a:pt x="4316" y="35389"/>
                  </a:cubicBezTo>
                  <a:cubicBezTo>
                    <a:pt x="3520" y="34956"/>
                    <a:pt x="2615" y="34563"/>
                    <a:pt x="1871" y="34563"/>
                  </a:cubicBezTo>
                  <a:cubicBezTo>
                    <a:pt x="1309" y="34563"/>
                    <a:pt x="839" y="34787"/>
                    <a:pt x="578" y="35389"/>
                  </a:cubicBezTo>
                  <a:cubicBezTo>
                    <a:pt x="0" y="36817"/>
                    <a:pt x="1125" y="41590"/>
                    <a:pt x="7903" y="47821"/>
                  </a:cubicBezTo>
                  <a:lnTo>
                    <a:pt x="11216" y="50526"/>
                  </a:lnTo>
                  <a:lnTo>
                    <a:pt x="15229" y="49067"/>
                  </a:lnTo>
                  <a:cubicBezTo>
                    <a:pt x="23679" y="45359"/>
                    <a:pt x="26293" y="41225"/>
                    <a:pt x="26201" y="39705"/>
                  </a:cubicBezTo>
                  <a:cubicBezTo>
                    <a:pt x="26117" y="38629"/>
                    <a:pt x="25197" y="38314"/>
                    <a:pt x="24124" y="38314"/>
                  </a:cubicBezTo>
                  <a:cubicBezTo>
                    <a:pt x="23651" y="38314"/>
                    <a:pt x="23149" y="38375"/>
                    <a:pt x="22675" y="38459"/>
                  </a:cubicBezTo>
                  <a:cubicBezTo>
                    <a:pt x="21433" y="38674"/>
                    <a:pt x="20059" y="39077"/>
                    <a:pt x="19439" y="39077"/>
                  </a:cubicBezTo>
                  <a:cubicBezTo>
                    <a:pt x="19271" y="39077"/>
                    <a:pt x="19158" y="39047"/>
                    <a:pt x="19119" y="38976"/>
                  </a:cubicBezTo>
                  <a:cubicBezTo>
                    <a:pt x="18967" y="38611"/>
                    <a:pt x="19028" y="38276"/>
                    <a:pt x="19605" y="37821"/>
                  </a:cubicBezTo>
                  <a:cubicBezTo>
                    <a:pt x="20183" y="37365"/>
                    <a:pt x="25502" y="33170"/>
                    <a:pt x="25107" y="30556"/>
                  </a:cubicBezTo>
                  <a:cubicBezTo>
                    <a:pt x="24896" y="29158"/>
                    <a:pt x="23242" y="28838"/>
                    <a:pt x="21628" y="28838"/>
                  </a:cubicBezTo>
                  <a:cubicBezTo>
                    <a:pt x="20263" y="28838"/>
                    <a:pt x="18927" y="29067"/>
                    <a:pt x="18515" y="29067"/>
                  </a:cubicBezTo>
                  <a:cubicBezTo>
                    <a:pt x="18502" y="29067"/>
                    <a:pt x="18491" y="29067"/>
                    <a:pt x="18481" y="29067"/>
                  </a:cubicBezTo>
                  <a:cubicBezTo>
                    <a:pt x="17691" y="29067"/>
                    <a:pt x="17873" y="28368"/>
                    <a:pt x="18177" y="28003"/>
                  </a:cubicBezTo>
                  <a:cubicBezTo>
                    <a:pt x="18481" y="27638"/>
                    <a:pt x="21885" y="23626"/>
                    <a:pt x="23527" y="21863"/>
                  </a:cubicBezTo>
                  <a:cubicBezTo>
                    <a:pt x="25168" y="20100"/>
                    <a:pt x="25685" y="18459"/>
                    <a:pt x="24803" y="17304"/>
                  </a:cubicBezTo>
                  <a:cubicBezTo>
                    <a:pt x="24500" y="16920"/>
                    <a:pt x="24054" y="16788"/>
                    <a:pt x="23551" y="16788"/>
                  </a:cubicBezTo>
                  <a:cubicBezTo>
                    <a:pt x="22539" y="16788"/>
                    <a:pt x="21299" y="17324"/>
                    <a:pt x="20548" y="17425"/>
                  </a:cubicBezTo>
                  <a:cubicBezTo>
                    <a:pt x="20491" y="17433"/>
                    <a:pt x="20437" y="17436"/>
                    <a:pt x="20386" y="17436"/>
                  </a:cubicBezTo>
                  <a:cubicBezTo>
                    <a:pt x="19429" y="17436"/>
                    <a:pt x="19484" y="16148"/>
                    <a:pt x="19484" y="16148"/>
                  </a:cubicBezTo>
                  <a:cubicBezTo>
                    <a:pt x="19484" y="16148"/>
                    <a:pt x="20548" y="12835"/>
                    <a:pt x="21551" y="6483"/>
                  </a:cubicBezTo>
                  <a:cubicBezTo>
                    <a:pt x="22554" y="130"/>
                    <a:pt x="19697" y="8"/>
                    <a:pt x="19697" y="8"/>
                  </a:cubicBezTo>
                  <a:lnTo>
                    <a:pt x="19697" y="8"/>
                  </a:lnTo>
                  <a:lnTo>
                    <a:pt x="19727" y="39"/>
                  </a:lnTo>
                  <a:cubicBezTo>
                    <a:pt x="19727" y="39"/>
                    <a:pt x="19601" y="1"/>
                    <a:pt x="1939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2" name="Google Shape;2588;g19a6bfd5701_2_1176"/>
            <p:cNvSpPr/>
            <p:nvPr/>
          </p:nvSpPr>
          <p:spPr>
            <a:xfrm>
              <a:off x="4399363" y="6562105"/>
              <a:ext cx="267886" cy="1586787"/>
            </a:xfrm>
            <a:custGeom>
              <a:avLst/>
              <a:ahLst/>
              <a:rect l="l" t="t" r="r" b="b"/>
              <a:pathLst>
                <a:path w="7569" h="44834" extrusionOk="0">
                  <a:moveTo>
                    <a:pt x="7569" y="0"/>
                  </a:moveTo>
                  <a:cubicBezTo>
                    <a:pt x="7569" y="31"/>
                    <a:pt x="7538" y="61"/>
                    <a:pt x="7538" y="122"/>
                  </a:cubicBezTo>
                  <a:cubicBezTo>
                    <a:pt x="7538" y="183"/>
                    <a:pt x="7508" y="304"/>
                    <a:pt x="7478" y="456"/>
                  </a:cubicBezTo>
                  <a:cubicBezTo>
                    <a:pt x="7417" y="760"/>
                    <a:pt x="7326" y="1186"/>
                    <a:pt x="7234" y="1763"/>
                  </a:cubicBezTo>
                  <a:cubicBezTo>
                    <a:pt x="7022" y="2888"/>
                    <a:pt x="6748" y="4529"/>
                    <a:pt x="6353" y="6535"/>
                  </a:cubicBezTo>
                  <a:cubicBezTo>
                    <a:pt x="5654" y="10608"/>
                    <a:pt x="4712" y="16201"/>
                    <a:pt x="3709" y="22402"/>
                  </a:cubicBezTo>
                  <a:cubicBezTo>
                    <a:pt x="2705" y="28603"/>
                    <a:pt x="1763" y="34195"/>
                    <a:pt x="1095" y="38268"/>
                  </a:cubicBezTo>
                  <a:lnTo>
                    <a:pt x="274" y="43071"/>
                  </a:lnTo>
                  <a:cubicBezTo>
                    <a:pt x="183" y="43618"/>
                    <a:pt x="122" y="44074"/>
                    <a:pt x="61" y="44378"/>
                  </a:cubicBezTo>
                  <a:cubicBezTo>
                    <a:pt x="31" y="44500"/>
                    <a:pt x="0" y="44621"/>
                    <a:pt x="0" y="44712"/>
                  </a:cubicBezTo>
                  <a:cubicBezTo>
                    <a:pt x="0" y="44743"/>
                    <a:pt x="0" y="44773"/>
                    <a:pt x="0" y="44834"/>
                  </a:cubicBezTo>
                  <a:cubicBezTo>
                    <a:pt x="31" y="44773"/>
                    <a:pt x="31" y="44743"/>
                    <a:pt x="31" y="44712"/>
                  </a:cubicBezTo>
                  <a:cubicBezTo>
                    <a:pt x="61" y="44621"/>
                    <a:pt x="91" y="44530"/>
                    <a:pt x="122" y="44378"/>
                  </a:cubicBezTo>
                  <a:cubicBezTo>
                    <a:pt x="183" y="44074"/>
                    <a:pt x="243" y="43618"/>
                    <a:pt x="365" y="43071"/>
                  </a:cubicBezTo>
                  <a:cubicBezTo>
                    <a:pt x="547" y="41916"/>
                    <a:pt x="851" y="40305"/>
                    <a:pt x="1216" y="38268"/>
                  </a:cubicBezTo>
                  <a:cubicBezTo>
                    <a:pt x="1915" y="34226"/>
                    <a:pt x="2857" y="28603"/>
                    <a:pt x="3891" y="22432"/>
                  </a:cubicBezTo>
                  <a:cubicBezTo>
                    <a:pt x="4894" y="16232"/>
                    <a:pt x="5836" y="10639"/>
                    <a:pt x="6505" y="6566"/>
                  </a:cubicBezTo>
                  <a:lnTo>
                    <a:pt x="7326" y="1763"/>
                  </a:lnTo>
                  <a:cubicBezTo>
                    <a:pt x="7417" y="1216"/>
                    <a:pt x="7478" y="760"/>
                    <a:pt x="7538" y="456"/>
                  </a:cubicBezTo>
                  <a:cubicBezTo>
                    <a:pt x="7538" y="304"/>
                    <a:pt x="7569" y="183"/>
                    <a:pt x="7569" y="122"/>
                  </a:cubicBezTo>
                  <a:lnTo>
                    <a:pt x="756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3" name="Google Shape;2589;g19a6bfd5701_2_1176"/>
            <p:cNvSpPr/>
            <p:nvPr/>
          </p:nvSpPr>
          <p:spPr>
            <a:xfrm>
              <a:off x="4278852" y="7420585"/>
              <a:ext cx="222725" cy="175370"/>
            </a:xfrm>
            <a:custGeom>
              <a:avLst/>
              <a:ahLst/>
              <a:rect l="l" t="t" r="r" b="b"/>
              <a:pathLst>
                <a:path w="6293" h="4955" extrusionOk="0">
                  <a:moveTo>
                    <a:pt x="1" y="0"/>
                  </a:moveTo>
                  <a:cubicBezTo>
                    <a:pt x="62" y="91"/>
                    <a:pt x="123" y="182"/>
                    <a:pt x="214" y="243"/>
                  </a:cubicBezTo>
                  <a:cubicBezTo>
                    <a:pt x="366" y="395"/>
                    <a:pt x="578" y="608"/>
                    <a:pt x="852" y="851"/>
                  </a:cubicBezTo>
                  <a:cubicBezTo>
                    <a:pt x="1369" y="1337"/>
                    <a:pt x="2129" y="1976"/>
                    <a:pt x="3010" y="2675"/>
                  </a:cubicBezTo>
                  <a:cubicBezTo>
                    <a:pt x="3861" y="3374"/>
                    <a:pt x="4682" y="3951"/>
                    <a:pt x="5290" y="4347"/>
                  </a:cubicBezTo>
                  <a:cubicBezTo>
                    <a:pt x="5594" y="4559"/>
                    <a:pt x="5837" y="4711"/>
                    <a:pt x="6019" y="4803"/>
                  </a:cubicBezTo>
                  <a:cubicBezTo>
                    <a:pt x="6080" y="4863"/>
                    <a:pt x="6171" y="4924"/>
                    <a:pt x="6293" y="4955"/>
                  </a:cubicBezTo>
                  <a:cubicBezTo>
                    <a:pt x="5989" y="4711"/>
                    <a:pt x="5685" y="4468"/>
                    <a:pt x="5351" y="4255"/>
                  </a:cubicBezTo>
                  <a:cubicBezTo>
                    <a:pt x="4773" y="3830"/>
                    <a:pt x="3952" y="3222"/>
                    <a:pt x="3101" y="2553"/>
                  </a:cubicBezTo>
                  <a:cubicBezTo>
                    <a:pt x="2250" y="1854"/>
                    <a:pt x="1460" y="1216"/>
                    <a:pt x="913" y="760"/>
                  </a:cubicBezTo>
                  <a:cubicBezTo>
                    <a:pt x="639" y="486"/>
                    <a:pt x="335" y="243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4" name="Google Shape;2590;g19a6bfd5701_2_1176"/>
            <p:cNvSpPr/>
            <p:nvPr/>
          </p:nvSpPr>
          <p:spPr>
            <a:xfrm>
              <a:off x="4500480" y="7485106"/>
              <a:ext cx="239926" cy="106531"/>
            </a:xfrm>
            <a:custGeom>
              <a:avLst/>
              <a:ahLst/>
              <a:rect l="l" t="t" r="r" b="b"/>
              <a:pathLst>
                <a:path w="6779" h="3010" extrusionOk="0">
                  <a:moveTo>
                    <a:pt x="6779" y="1"/>
                  </a:moveTo>
                  <a:lnTo>
                    <a:pt x="6779" y="1"/>
                  </a:lnTo>
                  <a:cubicBezTo>
                    <a:pt x="6414" y="92"/>
                    <a:pt x="6080" y="214"/>
                    <a:pt x="5745" y="366"/>
                  </a:cubicBezTo>
                  <a:cubicBezTo>
                    <a:pt x="5137" y="639"/>
                    <a:pt x="4286" y="1004"/>
                    <a:pt x="3344" y="1429"/>
                  </a:cubicBezTo>
                  <a:cubicBezTo>
                    <a:pt x="2432" y="1855"/>
                    <a:pt x="1581" y="2220"/>
                    <a:pt x="973" y="2524"/>
                  </a:cubicBezTo>
                  <a:cubicBezTo>
                    <a:pt x="639" y="2645"/>
                    <a:pt x="304" y="2828"/>
                    <a:pt x="0" y="3010"/>
                  </a:cubicBezTo>
                  <a:cubicBezTo>
                    <a:pt x="365" y="2919"/>
                    <a:pt x="700" y="2767"/>
                    <a:pt x="1034" y="2615"/>
                  </a:cubicBezTo>
                  <a:cubicBezTo>
                    <a:pt x="1642" y="2372"/>
                    <a:pt x="2493" y="2007"/>
                    <a:pt x="3435" y="1581"/>
                  </a:cubicBezTo>
                  <a:cubicBezTo>
                    <a:pt x="4347" y="1156"/>
                    <a:pt x="5198" y="791"/>
                    <a:pt x="5806" y="487"/>
                  </a:cubicBezTo>
                  <a:cubicBezTo>
                    <a:pt x="6140" y="335"/>
                    <a:pt x="6444" y="183"/>
                    <a:pt x="677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5" name="Google Shape;2591;g19a6bfd5701_2_1176"/>
            <p:cNvSpPr/>
            <p:nvPr/>
          </p:nvSpPr>
          <p:spPr>
            <a:xfrm>
              <a:off x="4435924" y="7833651"/>
              <a:ext cx="307702" cy="134527"/>
            </a:xfrm>
            <a:custGeom>
              <a:avLst/>
              <a:ahLst/>
              <a:rect l="l" t="t" r="r" b="b"/>
              <a:pathLst>
                <a:path w="8694" h="3801" extrusionOk="0">
                  <a:moveTo>
                    <a:pt x="8694" y="1"/>
                  </a:moveTo>
                  <a:lnTo>
                    <a:pt x="8694" y="1"/>
                  </a:lnTo>
                  <a:cubicBezTo>
                    <a:pt x="8572" y="31"/>
                    <a:pt x="8451" y="62"/>
                    <a:pt x="8360" y="123"/>
                  </a:cubicBezTo>
                  <a:lnTo>
                    <a:pt x="7417" y="518"/>
                  </a:lnTo>
                  <a:cubicBezTo>
                    <a:pt x="6597" y="852"/>
                    <a:pt x="5533" y="1308"/>
                    <a:pt x="4317" y="1825"/>
                  </a:cubicBezTo>
                  <a:cubicBezTo>
                    <a:pt x="3131" y="2341"/>
                    <a:pt x="2037" y="2828"/>
                    <a:pt x="1247" y="3193"/>
                  </a:cubicBezTo>
                  <a:lnTo>
                    <a:pt x="335" y="3618"/>
                  </a:lnTo>
                  <a:cubicBezTo>
                    <a:pt x="213" y="3679"/>
                    <a:pt x="122" y="3740"/>
                    <a:pt x="1" y="3800"/>
                  </a:cubicBezTo>
                  <a:cubicBezTo>
                    <a:pt x="122" y="3770"/>
                    <a:pt x="244" y="3740"/>
                    <a:pt x="365" y="3679"/>
                  </a:cubicBezTo>
                  <a:lnTo>
                    <a:pt x="1308" y="3314"/>
                  </a:lnTo>
                  <a:cubicBezTo>
                    <a:pt x="2128" y="2980"/>
                    <a:pt x="3192" y="2493"/>
                    <a:pt x="4408" y="1977"/>
                  </a:cubicBezTo>
                  <a:cubicBezTo>
                    <a:pt x="5594" y="1460"/>
                    <a:pt x="6688" y="974"/>
                    <a:pt x="7448" y="609"/>
                  </a:cubicBezTo>
                  <a:lnTo>
                    <a:pt x="8390" y="183"/>
                  </a:lnTo>
                  <a:cubicBezTo>
                    <a:pt x="8481" y="153"/>
                    <a:pt x="8603" y="92"/>
                    <a:pt x="869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6" name="Google Shape;2592;g19a6bfd5701_2_1176"/>
            <p:cNvSpPr/>
            <p:nvPr/>
          </p:nvSpPr>
          <p:spPr>
            <a:xfrm>
              <a:off x="4165914" y="7733632"/>
              <a:ext cx="276522" cy="229166"/>
            </a:xfrm>
            <a:custGeom>
              <a:avLst/>
              <a:ahLst/>
              <a:rect l="l" t="t" r="r" b="b"/>
              <a:pathLst>
                <a:path w="7813" h="6475" extrusionOk="0">
                  <a:moveTo>
                    <a:pt x="0" y="0"/>
                  </a:moveTo>
                  <a:cubicBezTo>
                    <a:pt x="92" y="91"/>
                    <a:pt x="183" y="183"/>
                    <a:pt x="274" y="274"/>
                  </a:cubicBezTo>
                  <a:cubicBezTo>
                    <a:pt x="456" y="456"/>
                    <a:pt x="730" y="730"/>
                    <a:pt x="1064" y="1034"/>
                  </a:cubicBezTo>
                  <a:cubicBezTo>
                    <a:pt x="1733" y="1672"/>
                    <a:pt x="2675" y="2523"/>
                    <a:pt x="3769" y="3435"/>
                  </a:cubicBezTo>
                  <a:cubicBezTo>
                    <a:pt x="4833" y="4316"/>
                    <a:pt x="5836" y="5107"/>
                    <a:pt x="6596" y="5623"/>
                  </a:cubicBezTo>
                  <a:cubicBezTo>
                    <a:pt x="6961" y="5897"/>
                    <a:pt x="7265" y="6140"/>
                    <a:pt x="7478" y="6262"/>
                  </a:cubicBezTo>
                  <a:cubicBezTo>
                    <a:pt x="7599" y="6353"/>
                    <a:pt x="7691" y="6414"/>
                    <a:pt x="7812" y="6474"/>
                  </a:cubicBezTo>
                  <a:cubicBezTo>
                    <a:pt x="7721" y="6383"/>
                    <a:pt x="7630" y="6292"/>
                    <a:pt x="7508" y="6231"/>
                  </a:cubicBezTo>
                  <a:lnTo>
                    <a:pt x="6657" y="5532"/>
                  </a:lnTo>
                  <a:cubicBezTo>
                    <a:pt x="5928" y="4985"/>
                    <a:pt x="4955" y="4195"/>
                    <a:pt x="3861" y="3283"/>
                  </a:cubicBezTo>
                  <a:cubicBezTo>
                    <a:pt x="2797" y="2401"/>
                    <a:pt x="1824" y="1581"/>
                    <a:pt x="1155" y="973"/>
                  </a:cubicBezTo>
                  <a:lnTo>
                    <a:pt x="335" y="243"/>
                  </a:lnTo>
                  <a:cubicBezTo>
                    <a:pt x="213" y="152"/>
                    <a:pt x="122" y="6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62" name="Google Shape;2593;g19a6bfd5701_2_1176"/>
          <p:cNvGrpSpPr/>
          <p:nvPr/>
        </p:nvGrpSpPr>
        <p:grpSpPr>
          <a:xfrm>
            <a:off x="415580" y="5703983"/>
            <a:ext cx="890783" cy="1193594"/>
            <a:chOff x="122038" y="7256930"/>
            <a:chExt cx="668104" cy="895218"/>
          </a:xfrm>
        </p:grpSpPr>
        <p:sp>
          <p:nvSpPr>
            <p:cNvPr id="1050147" name="Google Shape;2594;g19a6bfd5701_2_1176"/>
            <p:cNvSpPr/>
            <p:nvPr/>
          </p:nvSpPr>
          <p:spPr>
            <a:xfrm>
              <a:off x="522256" y="7780173"/>
              <a:ext cx="267886" cy="162204"/>
            </a:xfrm>
            <a:custGeom>
              <a:avLst/>
              <a:ahLst/>
              <a:rect l="l" t="t" r="r" b="b"/>
              <a:pathLst>
                <a:path w="7569" h="4583" extrusionOk="0">
                  <a:moveTo>
                    <a:pt x="4002" y="1"/>
                  </a:moveTo>
                  <a:cubicBezTo>
                    <a:pt x="3122" y="1"/>
                    <a:pt x="2254" y="184"/>
                    <a:pt x="1459" y="539"/>
                  </a:cubicBezTo>
                  <a:cubicBezTo>
                    <a:pt x="760" y="904"/>
                    <a:pt x="304" y="1542"/>
                    <a:pt x="152" y="2302"/>
                  </a:cubicBezTo>
                  <a:cubicBezTo>
                    <a:pt x="0" y="2849"/>
                    <a:pt x="61" y="3427"/>
                    <a:pt x="335" y="3913"/>
                  </a:cubicBezTo>
                  <a:cubicBezTo>
                    <a:pt x="536" y="4342"/>
                    <a:pt x="968" y="4582"/>
                    <a:pt x="1439" y="4582"/>
                  </a:cubicBezTo>
                  <a:cubicBezTo>
                    <a:pt x="1536" y="4582"/>
                    <a:pt x="1634" y="4572"/>
                    <a:pt x="1733" y="4552"/>
                  </a:cubicBezTo>
                  <a:cubicBezTo>
                    <a:pt x="2249" y="4400"/>
                    <a:pt x="2553" y="3822"/>
                    <a:pt x="3009" y="3488"/>
                  </a:cubicBezTo>
                  <a:cubicBezTo>
                    <a:pt x="3474" y="3130"/>
                    <a:pt x="4044" y="3056"/>
                    <a:pt x="4639" y="3056"/>
                  </a:cubicBezTo>
                  <a:cubicBezTo>
                    <a:pt x="5055" y="3056"/>
                    <a:pt x="5484" y="3093"/>
                    <a:pt x="5897" y="3093"/>
                  </a:cubicBezTo>
                  <a:cubicBezTo>
                    <a:pt x="5937" y="3096"/>
                    <a:pt x="5978" y="3097"/>
                    <a:pt x="6019" y="3097"/>
                  </a:cubicBezTo>
                  <a:cubicBezTo>
                    <a:pt x="6378" y="3097"/>
                    <a:pt x="6752" y="2980"/>
                    <a:pt x="7052" y="2789"/>
                  </a:cubicBezTo>
                  <a:cubicBezTo>
                    <a:pt x="7569" y="2333"/>
                    <a:pt x="7508" y="1451"/>
                    <a:pt x="7022" y="934"/>
                  </a:cubicBezTo>
                  <a:cubicBezTo>
                    <a:pt x="6535" y="479"/>
                    <a:pt x="5867" y="175"/>
                    <a:pt x="5198" y="114"/>
                  </a:cubicBezTo>
                  <a:cubicBezTo>
                    <a:pt x="4800" y="38"/>
                    <a:pt x="4400" y="1"/>
                    <a:pt x="4002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8" name="Google Shape;2595;g19a6bfd5701_2_1176"/>
            <p:cNvSpPr/>
            <p:nvPr/>
          </p:nvSpPr>
          <p:spPr>
            <a:xfrm>
              <a:off x="457701" y="7256930"/>
              <a:ext cx="196888" cy="387442"/>
            </a:xfrm>
            <a:custGeom>
              <a:avLst/>
              <a:ahLst/>
              <a:rect l="l" t="t" r="r" b="b"/>
              <a:pathLst>
                <a:path w="5563" h="10947" extrusionOk="0">
                  <a:moveTo>
                    <a:pt x="3124" y="1"/>
                  </a:moveTo>
                  <a:cubicBezTo>
                    <a:pt x="3014" y="1"/>
                    <a:pt x="2905" y="12"/>
                    <a:pt x="2797" y="34"/>
                  </a:cubicBezTo>
                  <a:cubicBezTo>
                    <a:pt x="2098" y="217"/>
                    <a:pt x="1672" y="885"/>
                    <a:pt x="1368" y="1524"/>
                  </a:cubicBezTo>
                  <a:cubicBezTo>
                    <a:pt x="487" y="3378"/>
                    <a:pt x="0" y="5445"/>
                    <a:pt x="0" y="7512"/>
                  </a:cubicBezTo>
                  <a:cubicBezTo>
                    <a:pt x="0" y="8484"/>
                    <a:pt x="122" y="9487"/>
                    <a:pt x="669" y="10308"/>
                  </a:cubicBezTo>
                  <a:cubicBezTo>
                    <a:pt x="990" y="10768"/>
                    <a:pt x="1445" y="10947"/>
                    <a:pt x="1902" y="10947"/>
                  </a:cubicBezTo>
                  <a:cubicBezTo>
                    <a:pt x="2442" y="10947"/>
                    <a:pt x="2984" y="10698"/>
                    <a:pt x="3314" y="10369"/>
                  </a:cubicBezTo>
                  <a:cubicBezTo>
                    <a:pt x="3952" y="9761"/>
                    <a:pt x="4225" y="8879"/>
                    <a:pt x="4469" y="8028"/>
                  </a:cubicBezTo>
                  <a:cubicBezTo>
                    <a:pt x="5016" y="6144"/>
                    <a:pt x="5563" y="4107"/>
                    <a:pt x="5168" y="2162"/>
                  </a:cubicBezTo>
                  <a:cubicBezTo>
                    <a:pt x="5046" y="1585"/>
                    <a:pt x="4803" y="1037"/>
                    <a:pt x="4408" y="581"/>
                  </a:cubicBezTo>
                  <a:cubicBezTo>
                    <a:pt x="4086" y="211"/>
                    <a:pt x="3604" y="1"/>
                    <a:pt x="312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49" name="Google Shape;2596;g19a6bfd5701_2_1176"/>
            <p:cNvSpPr/>
            <p:nvPr/>
          </p:nvSpPr>
          <p:spPr>
            <a:xfrm>
              <a:off x="122038" y="7369797"/>
              <a:ext cx="324939" cy="320550"/>
            </a:xfrm>
            <a:custGeom>
              <a:avLst/>
              <a:ahLst/>
              <a:rect l="l" t="t" r="r" b="b"/>
              <a:pathLst>
                <a:path w="9181" h="9057" extrusionOk="0">
                  <a:moveTo>
                    <a:pt x="1929" y="1"/>
                  </a:moveTo>
                  <a:cubicBezTo>
                    <a:pt x="1863" y="1"/>
                    <a:pt x="1798" y="3"/>
                    <a:pt x="1734" y="6"/>
                  </a:cubicBezTo>
                  <a:cubicBezTo>
                    <a:pt x="1156" y="37"/>
                    <a:pt x="670" y="341"/>
                    <a:pt x="396" y="827"/>
                  </a:cubicBezTo>
                  <a:cubicBezTo>
                    <a:pt x="1" y="1526"/>
                    <a:pt x="396" y="2377"/>
                    <a:pt x="761" y="3107"/>
                  </a:cubicBezTo>
                  <a:cubicBezTo>
                    <a:pt x="1430" y="4323"/>
                    <a:pt x="2220" y="5508"/>
                    <a:pt x="3071" y="6633"/>
                  </a:cubicBezTo>
                  <a:cubicBezTo>
                    <a:pt x="3770" y="7514"/>
                    <a:pt x="4560" y="8396"/>
                    <a:pt x="5624" y="8791"/>
                  </a:cubicBezTo>
                  <a:cubicBezTo>
                    <a:pt x="6057" y="8964"/>
                    <a:pt x="6494" y="9056"/>
                    <a:pt x="6900" y="9056"/>
                  </a:cubicBezTo>
                  <a:cubicBezTo>
                    <a:pt x="7492" y="9056"/>
                    <a:pt x="8017" y="8859"/>
                    <a:pt x="8360" y="8426"/>
                  </a:cubicBezTo>
                  <a:lnTo>
                    <a:pt x="8360" y="8426"/>
                  </a:lnTo>
                  <a:lnTo>
                    <a:pt x="8238" y="8548"/>
                  </a:lnTo>
                  <a:cubicBezTo>
                    <a:pt x="8968" y="7605"/>
                    <a:pt x="9180" y="6359"/>
                    <a:pt x="8816" y="5204"/>
                  </a:cubicBezTo>
                  <a:cubicBezTo>
                    <a:pt x="8421" y="4110"/>
                    <a:pt x="7752" y="3107"/>
                    <a:pt x="6840" y="2347"/>
                  </a:cubicBezTo>
                  <a:cubicBezTo>
                    <a:pt x="5807" y="1435"/>
                    <a:pt x="4591" y="736"/>
                    <a:pt x="3314" y="280"/>
                  </a:cubicBezTo>
                  <a:cubicBezTo>
                    <a:pt x="2862" y="94"/>
                    <a:pt x="2387" y="1"/>
                    <a:pt x="1929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50" name="Google Shape;2597;g19a6bfd5701_2_1176"/>
            <p:cNvSpPr/>
            <p:nvPr/>
          </p:nvSpPr>
          <p:spPr>
            <a:xfrm>
              <a:off x="478122" y="7828554"/>
              <a:ext cx="185067" cy="323594"/>
            </a:xfrm>
            <a:custGeom>
              <a:avLst/>
              <a:ahLst/>
              <a:rect l="l" t="t" r="r" b="b"/>
              <a:pathLst>
                <a:path w="5229" h="9143" extrusionOk="0">
                  <a:moveTo>
                    <a:pt x="5001" y="1"/>
                  </a:moveTo>
                  <a:cubicBezTo>
                    <a:pt x="4925" y="1"/>
                    <a:pt x="4849" y="8"/>
                    <a:pt x="4773" y="23"/>
                  </a:cubicBezTo>
                  <a:cubicBezTo>
                    <a:pt x="4348" y="54"/>
                    <a:pt x="3952" y="145"/>
                    <a:pt x="3557" y="327"/>
                  </a:cubicBezTo>
                  <a:cubicBezTo>
                    <a:pt x="3010" y="601"/>
                    <a:pt x="2493" y="996"/>
                    <a:pt x="2098" y="1482"/>
                  </a:cubicBezTo>
                  <a:cubicBezTo>
                    <a:pt x="1642" y="2060"/>
                    <a:pt x="1247" y="2729"/>
                    <a:pt x="974" y="3428"/>
                  </a:cubicBezTo>
                  <a:cubicBezTo>
                    <a:pt x="700" y="4127"/>
                    <a:pt x="487" y="4856"/>
                    <a:pt x="335" y="5616"/>
                  </a:cubicBezTo>
                  <a:cubicBezTo>
                    <a:pt x="214" y="6224"/>
                    <a:pt x="123" y="6832"/>
                    <a:pt x="92" y="7440"/>
                  </a:cubicBezTo>
                  <a:cubicBezTo>
                    <a:pt x="31" y="7957"/>
                    <a:pt x="31" y="8382"/>
                    <a:pt x="31" y="8686"/>
                  </a:cubicBezTo>
                  <a:cubicBezTo>
                    <a:pt x="1" y="8838"/>
                    <a:pt x="31" y="8990"/>
                    <a:pt x="31" y="9142"/>
                  </a:cubicBezTo>
                  <a:cubicBezTo>
                    <a:pt x="62" y="8990"/>
                    <a:pt x="92" y="8838"/>
                    <a:pt x="92" y="8686"/>
                  </a:cubicBezTo>
                  <a:cubicBezTo>
                    <a:pt x="123" y="8352"/>
                    <a:pt x="183" y="7957"/>
                    <a:pt x="214" y="7440"/>
                  </a:cubicBezTo>
                  <a:cubicBezTo>
                    <a:pt x="274" y="6832"/>
                    <a:pt x="366" y="6254"/>
                    <a:pt x="487" y="5647"/>
                  </a:cubicBezTo>
                  <a:cubicBezTo>
                    <a:pt x="670" y="4917"/>
                    <a:pt x="882" y="4218"/>
                    <a:pt x="1156" y="3519"/>
                  </a:cubicBezTo>
                  <a:cubicBezTo>
                    <a:pt x="1430" y="2820"/>
                    <a:pt x="1794" y="2181"/>
                    <a:pt x="2250" y="1574"/>
                  </a:cubicBezTo>
                  <a:cubicBezTo>
                    <a:pt x="2615" y="1118"/>
                    <a:pt x="3071" y="722"/>
                    <a:pt x="3618" y="449"/>
                  </a:cubicBezTo>
                  <a:cubicBezTo>
                    <a:pt x="3983" y="267"/>
                    <a:pt x="4378" y="145"/>
                    <a:pt x="4773" y="84"/>
                  </a:cubicBezTo>
                  <a:cubicBezTo>
                    <a:pt x="4925" y="84"/>
                    <a:pt x="5077" y="54"/>
                    <a:pt x="5229" y="23"/>
                  </a:cubicBezTo>
                  <a:cubicBezTo>
                    <a:pt x="5153" y="8"/>
                    <a:pt x="5077" y="1"/>
                    <a:pt x="500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51" name="Google Shape;2598;g19a6bfd5701_2_1176"/>
            <p:cNvSpPr/>
            <p:nvPr/>
          </p:nvSpPr>
          <p:spPr>
            <a:xfrm>
              <a:off x="479219" y="7397969"/>
              <a:ext cx="83951" cy="720804"/>
            </a:xfrm>
            <a:custGeom>
              <a:avLst/>
              <a:ahLst/>
              <a:rect l="l" t="t" r="r" b="b"/>
              <a:pathLst>
                <a:path w="2372" h="20366" extrusionOk="0">
                  <a:moveTo>
                    <a:pt x="2371" y="1"/>
                  </a:moveTo>
                  <a:cubicBezTo>
                    <a:pt x="2371" y="62"/>
                    <a:pt x="2341" y="122"/>
                    <a:pt x="2310" y="183"/>
                  </a:cubicBezTo>
                  <a:cubicBezTo>
                    <a:pt x="2280" y="335"/>
                    <a:pt x="2219" y="517"/>
                    <a:pt x="2128" y="761"/>
                  </a:cubicBezTo>
                  <a:cubicBezTo>
                    <a:pt x="2067" y="1004"/>
                    <a:pt x="1976" y="1308"/>
                    <a:pt x="1885" y="1673"/>
                  </a:cubicBezTo>
                  <a:cubicBezTo>
                    <a:pt x="1794" y="2037"/>
                    <a:pt x="1702" y="2432"/>
                    <a:pt x="1611" y="2888"/>
                  </a:cubicBezTo>
                  <a:cubicBezTo>
                    <a:pt x="1095" y="5290"/>
                    <a:pt x="730" y="7660"/>
                    <a:pt x="456" y="10092"/>
                  </a:cubicBezTo>
                  <a:cubicBezTo>
                    <a:pt x="152" y="12919"/>
                    <a:pt x="0" y="15472"/>
                    <a:pt x="0" y="17326"/>
                  </a:cubicBezTo>
                  <a:cubicBezTo>
                    <a:pt x="0" y="18269"/>
                    <a:pt x="0" y="19028"/>
                    <a:pt x="31" y="19545"/>
                  </a:cubicBezTo>
                  <a:cubicBezTo>
                    <a:pt x="31" y="19788"/>
                    <a:pt x="61" y="20001"/>
                    <a:pt x="61" y="20153"/>
                  </a:cubicBezTo>
                  <a:cubicBezTo>
                    <a:pt x="61" y="20214"/>
                    <a:pt x="92" y="20275"/>
                    <a:pt x="92" y="20366"/>
                  </a:cubicBezTo>
                  <a:cubicBezTo>
                    <a:pt x="92" y="20275"/>
                    <a:pt x="92" y="20214"/>
                    <a:pt x="92" y="20153"/>
                  </a:cubicBezTo>
                  <a:lnTo>
                    <a:pt x="92" y="19545"/>
                  </a:lnTo>
                  <a:cubicBezTo>
                    <a:pt x="92" y="19028"/>
                    <a:pt x="92" y="18269"/>
                    <a:pt x="122" y="17326"/>
                  </a:cubicBezTo>
                  <a:cubicBezTo>
                    <a:pt x="152" y="15503"/>
                    <a:pt x="335" y="13496"/>
                    <a:pt x="639" y="10670"/>
                  </a:cubicBezTo>
                  <a:cubicBezTo>
                    <a:pt x="912" y="7995"/>
                    <a:pt x="1307" y="4925"/>
                    <a:pt x="1733" y="2919"/>
                  </a:cubicBezTo>
                  <a:cubicBezTo>
                    <a:pt x="1824" y="2463"/>
                    <a:pt x="1915" y="2068"/>
                    <a:pt x="2006" y="1703"/>
                  </a:cubicBezTo>
                  <a:cubicBezTo>
                    <a:pt x="2067" y="1338"/>
                    <a:pt x="2128" y="1034"/>
                    <a:pt x="2219" y="791"/>
                  </a:cubicBezTo>
                  <a:cubicBezTo>
                    <a:pt x="2280" y="517"/>
                    <a:pt x="2310" y="366"/>
                    <a:pt x="2341" y="214"/>
                  </a:cubicBezTo>
                  <a:cubicBezTo>
                    <a:pt x="2371" y="122"/>
                    <a:pt x="2371" y="62"/>
                    <a:pt x="23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52" name="Google Shape;2599;g19a6bfd5701_2_1176"/>
            <p:cNvSpPr/>
            <p:nvPr/>
          </p:nvSpPr>
          <p:spPr>
            <a:xfrm>
              <a:off x="247929" y="7451766"/>
              <a:ext cx="235608" cy="490575"/>
            </a:xfrm>
            <a:custGeom>
              <a:avLst/>
              <a:ahLst/>
              <a:rect l="l" t="t" r="r" b="b"/>
              <a:pathLst>
                <a:path w="6657" h="13861" extrusionOk="0">
                  <a:moveTo>
                    <a:pt x="0" y="1"/>
                  </a:moveTo>
                  <a:lnTo>
                    <a:pt x="0" y="1"/>
                  </a:lnTo>
                  <a:cubicBezTo>
                    <a:pt x="608" y="456"/>
                    <a:pt x="1186" y="973"/>
                    <a:pt x="1733" y="1520"/>
                  </a:cubicBezTo>
                  <a:cubicBezTo>
                    <a:pt x="2979" y="2919"/>
                    <a:pt x="3982" y="4499"/>
                    <a:pt x="4681" y="6232"/>
                  </a:cubicBezTo>
                  <a:cubicBezTo>
                    <a:pt x="5107" y="7174"/>
                    <a:pt x="5441" y="8147"/>
                    <a:pt x="5715" y="9119"/>
                  </a:cubicBezTo>
                  <a:cubicBezTo>
                    <a:pt x="5988" y="10031"/>
                    <a:pt x="6171" y="10882"/>
                    <a:pt x="6323" y="11581"/>
                  </a:cubicBezTo>
                  <a:cubicBezTo>
                    <a:pt x="6444" y="12280"/>
                    <a:pt x="6505" y="12858"/>
                    <a:pt x="6566" y="13253"/>
                  </a:cubicBezTo>
                  <a:cubicBezTo>
                    <a:pt x="6566" y="13466"/>
                    <a:pt x="6596" y="13679"/>
                    <a:pt x="6657" y="13861"/>
                  </a:cubicBezTo>
                  <a:cubicBezTo>
                    <a:pt x="6657" y="13679"/>
                    <a:pt x="6657" y="13466"/>
                    <a:pt x="6657" y="13253"/>
                  </a:cubicBezTo>
                  <a:cubicBezTo>
                    <a:pt x="6627" y="12858"/>
                    <a:pt x="6566" y="12280"/>
                    <a:pt x="6444" y="11551"/>
                  </a:cubicBezTo>
                  <a:cubicBezTo>
                    <a:pt x="6323" y="10730"/>
                    <a:pt x="6140" y="9879"/>
                    <a:pt x="5897" y="9089"/>
                  </a:cubicBezTo>
                  <a:cubicBezTo>
                    <a:pt x="5623" y="8086"/>
                    <a:pt x="5289" y="7113"/>
                    <a:pt x="4864" y="6171"/>
                  </a:cubicBezTo>
                  <a:cubicBezTo>
                    <a:pt x="4134" y="4408"/>
                    <a:pt x="3131" y="2827"/>
                    <a:pt x="1824" y="1429"/>
                  </a:cubicBezTo>
                  <a:cubicBezTo>
                    <a:pt x="1611" y="1216"/>
                    <a:pt x="1368" y="973"/>
                    <a:pt x="1125" y="791"/>
                  </a:cubicBezTo>
                  <a:cubicBezTo>
                    <a:pt x="1003" y="700"/>
                    <a:pt x="912" y="608"/>
                    <a:pt x="821" y="517"/>
                  </a:cubicBezTo>
                  <a:lnTo>
                    <a:pt x="547" y="335"/>
                  </a:lnTo>
                  <a:cubicBezTo>
                    <a:pt x="365" y="213"/>
                    <a:pt x="183" y="9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4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4194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65" name="Shape 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9" name="Google Shape;782;g19347faee97_5_251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1274605" y="1779048"/>
            <a:ext cx="3330773" cy="3449328"/>
          </a:xfrm>
          <a:prstGeom prst="rect"/>
          <a:noFill/>
          <a:ln>
            <a:noFill/>
          </a:ln>
          <a:effectLst>
            <a:outerShdw algn="tl" blurRad="292100" dir="2700000" dist="139700" rotWithShape="0">
              <a:srgbClr val="333333">
                <a:alpha val="64705"/>
              </a:srgbClr>
            </a:outerShdw>
          </a:effectLst>
        </p:spPr>
      </p:pic>
      <p:sp>
        <p:nvSpPr>
          <p:cNvPr id="1048668" name="Google Shape;783;g19347faee97_5_251"/>
          <p:cNvSpPr/>
          <p:nvPr/>
        </p:nvSpPr>
        <p:spPr>
          <a:xfrm>
            <a:off x="5393227" y="2166484"/>
            <a:ext cx="5524168" cy="2598057"/>
          </a:xfrm>
          <a:prstGeom prst="rect"/>
          <a:solidFill>
            <a:srgbClr val="394A89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69" name="Google Shape;784;g19347faee97_5_251"/>
          <p:cNvSpPr/>
          <p:nvPr/>
        </p:nvSpPr>
        <p:spPr>
          <a:xfrm>
            <a:off x="5500914" y="1412341"/>
            <a:ext cx="6691086" cy="4033318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70" name="Google Shape;785;g19347faee97_5_251"/>
          <p:cNvSpPr txBox="1"/>
          <p:nvPr/>
        </p:nvSpPr>
        <p:spPr>
          <a:xfrm>
            <a:off x="5847382" y="2324850"/>
            <a:ext cx="4939800" cy="21335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6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chie Citra Muhammad |</a:t>
            </a:r>
            <a:br>
              <a:rPr sz="36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sz="36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chiecm09@gmail.com</a:t>
            </a:r>
          </a:p>
        </p:txBody>
      </p:sp>
      <p:sp>
        <p:nvSpPr>
          <p:cNvPr id="1048671" name="Google Shape;786;g19347faee97_5_251"/>
          <p:cNvSpPr txBox="1"/>
          <p:nvPr/>
        </p:nvSpPr>
        <p:spPr>
          <a:xfrm>
            <a:off x="5847375" y="3656350"/>
            <a:ext cx="5070000" cy="1333501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TTL 		: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ragen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, 22 Sept 1994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No. Hp 		: 08112165945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Address 		: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ragen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 Tengah,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ragen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Jawa</a:t>
            </a:r>
            <a:endParaRPr dirty="0" sz="1800" lang="en-ID">
              <a:solidFill>
                <a:schemeClr val="accent5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		Tengah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ocial Media 	: @archiecm</a:t>
            </a:r>
            <a:endParaRPr dirty="0"/>
          </a:p>
        </p:txBody>
      </p:sp>
      <p:grpSp>
        <p:nvGrpSpPr>
          <p:cNvPr id="166" name="Google Shape;787;g19347faee97_5_251"/>
          <p:cNvGrpSpPr/>
          <p:nvPr/>
        </p:nvGrpSpPr>
        <p:grpSpPr>
          <a:xfrm flipH="1">
            <a:off x="845604" y="5633289"/>
            <a:ext cx="735967" cy="1220783"/>
            <a:chOff x="731955" y="3388996"/>
            <a:chExt cx="355077" cy="588982"/>
          </a:xfrm>
        </p:grpSpPr>
        <p:sp>
          <p:nvSpPr>
            <p:cNvPr id="1048672" name="Google Shape;788;g19347faee97_5_251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3" name="Google Shape;789;g19347faee97_5_25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4" name="Google Shape;790;g19347faee97_5_251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5" name="Google Shape;791;g19347faee97_5_251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6" name="Google Shape;792;g19347faee97_5_25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7" name="Google Shape;793;g19347faee97_5_251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8" name="Google Shape;794;g19347faee97_5_251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79" name="Google Shape;795;g19347faee97_5_25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80" name="Google Shape;796;g19347faee97_5_251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81" name="Google Shape;797;g19347faee97_5_251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82" name="Google Shape;798;g19347faee97_5_25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83" name="Google Shape;799;g19347faee97_5_251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84" name="Google Shape;800;g19347faee97_5_251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67" name="Google Shape;801;g19347faee97_5_251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685" name="Google Shape;802;g19347faee97_5_251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86" name="Google Shape;803;g19347faee97_5_251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87" name="Google Shape;804;g19347faee97_5_251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688" name="Google Shape;805;g19347faee97_5_251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id="7"/>
                                        <p:tgtEl>
                                          <p:spTgt spid="10486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2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200" id="10"/>
                                        <p:tgtEl>
                                          <p:spTgt spid="2097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700" id="13"/>
                                        <p:tgtEl>
                                          <p:spTgt spid="10486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6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</p:bgPr>
    </p:bg>
    <p:spTree>
      <p:nvGrpSpPr>
        <p:cNvPr id="465" name="Shape 2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56" name="Google Shape;2604;g19cd92314ba_6_0"/>
          <p:cNvSpPr txBox="1"/>
          <p:nvPr/>
        </p:nvSpPr>
        <p:spPr>
          <a:xfrm>
            <a:off x="2717112" y="1496126"/>
            <a:ext cx="634218" cy="716667"/>
          </a:xfrm>
          <a:prstGeom prst="rect"/>
          <a:noFill/>
          <a:ln>
            <a:noFill/>
          </a:ln>
        </p:spPr>
        <p:txBody>
          <a:bodyPr anchor="ctr" anchorCtr="0" bIns="33875" lIns="33875" rIns="33875" spcFirstLastPara="1" tIns="33875" wrap="square">
            <a:noAutofit/>
          </a:bodyPr>
          <a:p>
            <a:pPr algn="ctr" indent="0" lvl="0" marL="0" marR="0" rtl="0">
              <a:lnSpc>
                <a:spcPct val="155555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200" i="0" strike="noStrike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6" name="Google Shape;2605;g19cd92314ba_6_0"/>
          <p:cNvGrpSpPr/>
          <p:nvPr/>
        </p:nvGrpSpPr>
        <p:grpSpPr>
          <a:xfrm>
            <a:off x="2745570" y="1696943"/>
            <a:ext cx="6344519" cy="4447719"/>
            <a:chOff x="0" y="0"/>
            <a:chExt cx="12103242" cy="8160953"/>
          </a:xfrm>
        </p:grpSpPr>
        <p:pic>
          <p:nvPicPr>
            <p:cNvPr id="2097240" name="Google Shape;2606;g19cd92314ba_6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1">
              <a:alphaModFix/>
            </a:blip>
            <a:srcRect l="29380" r="29380"/>
            <a:stretch>
              <a:fillRect/>
            </a:stretch>
          </p:blipFill>
          <p:spPr>
            <a:xfrm>
              <a:off x="0" y="0"/>
              <a:ext cx="3962587" cy="5296981"/>
            </a:xfrm>
            <a:prstGeom prst="rect"/>
            <a:noFill/>
            <a:ln>
              <a:noFill/>
            </a:ln>
          </p:spPr>
        </p:pic>
        <p:pic>
          <p:nvPicPr>
            <p:cNvPr id="2097241" name="Google Shape;2607;g19cd92314ba_6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2">
              <a:alphaModFix/>
            </a:blip>
            <a:srcRect l="65" r="64"/>
            <a:stretch>
              <a:fillRect/>
            </a:stretch>
          </p:blipFill>
          <p:spPr>
            <a:xfrm>
              <a:off x="4178069" y="0"/>
              <a:ext cx="7925173" cy="5296981"/>
            </a:xfrm>
            <a:prstGeom prst="rect"/>
            <a:noFill/>
            <a:ln>
              <a:noFill/>
            </a:ln>
          </p:spPr>
        </p:pic>
        <p:pic>
          <p:nvPicPr>
            <p:cNvPr id="2097242" name="Google Shape;2608;g19cd92314ba_6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3">
              <a:alphaModFix/>
            </a:blip>
            <a:srcRect l="65" r="64"/>
            <a:stretch>
              <a:fillRect/>
            </a:stretch>
          </p:blipFill>
          <p:spPr>
            <a:xfrm>
              <a:off x="0" y="5512463"/>
              <a:ext cx="3962587" cy="2648490"/>
            </a:xfrm>
            <a:prstGeom prst="rect"/>
            <a:noFill/>
            <a:ln>
              <a:noFill/>
            </a:ln>
          </p:spPr>
        </p:pic>
        <p:pic>
          <p:nvPicPr>
            <p:cNvPr id="2097243" name="Google Shape;2609;g19cd92314ba_6_0"/>
            <p:cNvPicPr preferRelativeResize="0">
              <a:picLocks/>
            </p:cNvPicPr>
            <p:nvPr/>
          </p:nvPicPr>
          <p:blipFill rotWithShape="1">
            <a:blip xmlns:r="http://schemas.openxmlformats.org/officeDocument/2006/relationships" r:embed="rId4">
              <a:alphaModFix/>
            </a:blip>
            <a:srcRect t="24967" b="24966"/>
            <a:stretch>
              <a:fillRect/>
            </a:stretch>
          </p:blipFill>
          <p:spPr>
            <a:xfrm>
              <a:off x="4178069" y="5512463"/>
              <a:ext cx="7925173" cy="2648490"/>
            </a:xfrm>
            <a:prstGeom prst="rect"/>
            <a:noFill/>
            <a:ln>
              <a:noFill/>
            </a:ln>
          </p:spPr>
        </p:pic>
      </p:grpSp>
      <p:cxnSp>
        <p:nvCxnSpPr>
          <p:cNvPr id="3145788" name="Google Shape;2610;g19cd92314ba_6_0"/>
          <p:cNvCxnSpPr>
            <a:cxnSpLocks/>
          </p:cNvCxnSpPr>
          <p:nvPr/>
        </p:nvCxnSpPr>
        <p:spPr>
          <a:xfrm>
            <a:off x="1731560" y="1750730"/>
            <a:ext cx="11661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50157" name="Google Shape;2611;g19cd92314ba_6_0"/>
          <p:cNvSpPr/>
          <p:nvPr/>
        </p:nvSpPr>
        <p:spPr>
          <a:xfrm>
            <a:off x="2645663" y="1477101"/>
            <a:ext cx="777211" cy="811743"/>
          </a:xfrm>
          <a:custGeom>
            <a:avLst/>
            <a:ahLst/>
            <a:rect l="l" t="t" r="r" b="b"/>
            <a:pathLst>
              <a:path w="809173" h="812800" extrusionOk="0">
                <a:moveTo>
                  <a:pt x="404587" y="0"/>
                </a:moveTo>
                <a:cubicBezTo>
                  <a:pt x="628326" y="1001"/>
                  <a:pt x="809174" y="182659"/>
                  <a:pt x="809174" y="406400"/>
                </a:cubicBezTo>
                <a:cubicBezTo>
                  <a:pt x="809174" y="630141"/>
                  <a:pt x="628326" y="811799"/>
                  <a:pt x="404587" y="812800"/>
                </a:cubicBezTo>
                <a:cubicBezTo>
                  <a:pt x="180848" y="811799"/>
                  <a:pt x="0" y="630141"/>
                  <a:pt x="0" y="406400"/>
                </a:cubicBezTo>
                <a:cubicBezTo>
                  <a:pt x="0" y="182659"/>
                  <a:pt x="180848" y="1001"/>
                  <a:pt x="404587" y="0"/>
                </a:cubicBezTo>
                <a:close/>
              </a:path>
            </a:pathLst>
          </a:custGeom>
          <a:solidFill>
            <a:srgbClr val="8E7CC3"/>
          </a:solidFill>
          <a:ln w="95250" cap="flat" cmpd="sng">
            <a:solidFill>
              <a:srgbClr val="FDFDFD"/>
            </a:solidFill>
            <a:prstDash val="solid"/>
            <a:round/>
            <a:headEnd type="none" w="sm" len="sm"/>
            <a:tailEnd type="none" w="sm" len="sm"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cxnSp>
        <p:nvCxnSpPr>
          <p:cNvPr id="3145789" name="Google Shape;2612;g19cd92314ba_6_0"/>
          <p:cNvCxnSpPr>
            <a:cxnSpLocks/>
          </p:cNvCxnSpPr>
          <p:nvPr/>
        </p:nvCxnSpPr>
        <p:spPr>
          <a:xfrm>
            <a:off x="1731560" y="6198738"/>
            <a:ext cx="11661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90" name="Google Shape;2613;g19cd92314ba_6_0"/>
          <p:cNvCxnSpPr>
            <a:cxnSpLocks/>
          </p:cNvCxnSpPr>
          <p:nvPr/>
        </p:nvCxnSpPr>
        <p:spPr>
          <a:xfrm rot="-5400000">
            <a:off x="1598898" y="6066700"/>
            <a:ext cx="2967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1050158" name="Google Shape;2614;g19cd92314ba_6_0"/>
          <p:cNvSpPr txBox="1"/>
          <p:nvPr/>
        </p:nvSpPr>
        <p:spPr>
          <a:xfrm>
            <a:off x="2717112" y="5660064"/>
            <a:ext cx="634314" cy="716617"/>
          </a:xfrm>
          <a:prstGeom prst="rect"/>
          <a:noFill/>
          <a:ln>
            <a:noFill/>
          </a:ln>
        </p:spPr>
        <p:txBody>
          <a:bodyPr anchor="ctr" anchorCtr="0" bIns="33875" lIns="33875" rIns="33875" spcFirstLastPara="1" tIns="33875" wrap="square">
            <a:noAutofit/>
          </a:bodyPr>
          <a:p>
            <a:pPr algn="ctr" indent="0" lvl="0" marL="0" marR="0" rtl="0">
              <a:lnSpc>
                <a:spcPct val="155555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200" i="0" strike="noStrike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159" name="Google Shape;2615;g19cd92314ba_6_0"/>
          <p:cNvSpPr/>
          <p:nvPr/>
        </p:nvSpPr>
        <p:spPr>
          <a:xfrm>
            <a:off x="2645663" y="5641039"/>
            <a:ext cx="777211" cy="811743"/>
          </a:xfrm>
          <a:custGeom>
            <a:avLst/>
            <a:ahLst/>
            <a:rect l="l" t="t" r="r" b="b"/>
            <a:pathLst>
              <a:path w="809173" h="812800" extrusionOk="0">
                <a:moveTo>
                  <a:pt x="404587" y="0"/>
                </a:moveTo>
                <a:cubicBezTo>
                  <a:pt x="628326" y="1001"/>
                  <a:pt x="809174" y="182659"/>
                  <a:pt x="809174" y="406400"/>
                </a:cubicBezTo>
                <a:cubicBezTo>
                  <a:pt x="809174" y="630141"/>
                  <a:pt x="628326" y="811799"/>
                  <a:pt x="404587" y="812800"/>
                </a:cubicBezTo>
                <a:cubicBezTo>
                  <a:pt x="180848" y="811799"/>
                  <a:pt x="0" y="630141"/>
                  <a:pt x="0" y="406400"/>
                </a:cubicBezTo>
                <a:cubicBezTo>
                  <a:pt x="0" y="182659"/>
                  <a:pt x="180848" y="1001"/>
                  <a:pt x="404587" y="0"/>
                </a:cubicBezTo>
                <a:close/>
              </a:path>
            </a:pathLst>
          </a:custGeom>
          <a:solidFill>
            <a:srgbClr val="6AA84F"/>
          </a:solidFill>
          <a:ln w="95250" cap="flat" cmpd="sng">
            <a:solidFill>
              <a:srgbClr val="FDFDFD"/>
            </a:solidFill>
            <a:prstDash val="solid"/>
            <a:round/>
            <a:headEnd type="none" w="sm" len="sm"/>
            <a:tailEnd type="none" w="sm" len="sm"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grpSp>
        <p:nvGrpSpPr>
          <p:cNvPr id="467" name="Google Shape;2616;g19cd92314ba_6_0"/>
          <p:cNvGrpSpPr/>
          <p:nvPr/>
        </p:nvGrpSpPr>
        <p:grpSpPr>
          <a:xfrm>
            <a:off x="3939241" y="3609387"/>
            <a:ext cx="1856567" cy="1939097"/>
            <a:chOff x="1813" y="0"/>
            <a:chExt cx="809173" cy="812800"/>
          </a:xfrm>
        </p:grpSpPr>
        <p:sp>
          <p:nvSpPr>
            <p:cNvPr id="1050160" name="Google Shape;2617;g19cd92314ba_6_0"/>
            <p:cNvSpPr/>
            <p:nvPr/>
          </p:nvSpPr>
          <p:spPr>
            <a:xfrm>
              <a:off x="1813" y="0"/>
              <a:ext cx="809173" cy="812800"/>
            </a:xfrm>
            <a:custGeom>
              <a:avLst/>
              <a:ahLst/>
              <a:rect l="l" t="t" r="r" b="b"/>
              <a:pathLst>
                <a:path w="809173" h="812800" extrusionOk="0">
                  <a:moveTo>
                    <a:pt x="404587" y="0"/>
                  </a:moveTo>
                  <a:cubicBezTo>
                    <a:pt x="628326" y="1001"/>
                    <a:pt x="809174" y="182659"/>
                    <a:pt x="809174" y="406400"/>
                  </a:cubicBezTo>
                  <a:cubicBezTo>
                    <a:pt x="809174" y="630141"/>
                    <a:pt x="628326" y="811799"/>
                    <a:pt x="404587" y="812800"/>
                  </a:cubicBezTo>
                  <a:cubicBezTo>
                    <a:pt x="180848" y="811799"/>
                    <a:pt x="0" y="630141"/>
                    <a:pt x="0" y="406400"/>
                  </a:cubicBezTo>
                  <a:cubicBezTo>
                    <a:pt x="0" y="182659"/>
                    <a:pt x="180848" y="1001"/>
                    <a:pt x="404587" y="0"/>
                  </a:cubicBezTo>
                  <a:close/>
                </a:path>
              </a:pathLst>
            </a:custGeom>
            <a:solidFill>
              <a:srgbClr val="FDFDFD"/>
            </a:solidFill>
            <a:ln w="95250" cap="flat" cmpd="sng">
              <a:solidFill>
                <a:srgbClr val="FDFDF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anchor="ctr" anchorCtr="0" bIns="60950" lIns="60950" rIns="60950" spcFirstLastPara="1" tIns="60950" wrap="square">
              <a:noAutofit/>
            </a:bodyPr>
            <a:p>
              <a:pPr algn="l" indent="0" lvl="0" marL="0" rtl="0">
                <a:spcBef>
                  <a:spcPts val="0"/>
                </a:spcBef>
                <a:spcAft>
                  <a:spcPts val="0"/>
                </a:spcAft>
                <a:buNone/>
              </a:pPr>
            </a:p>
          </p:txBody>
        </p:sp>
        <p:sp>
          <p:nvSpPr>
            <p:cNvPr id="1050161" name="Google Shape;2618;g19cd92314ba_6_0"/>
            <p:cNvSpPr txBox="1"/>
            <p:nvPr/>
          </p:nvSpPr>
          <p:spPr>
            <a:xfrm>
              <a:off x="76200" y="19050"/>
              <a:ext cx="660400" cy="717550"/>
            </a:xfrm>
            <a:prstGeom prst="rect"/>
            <a:noFill/>
            <a:ln>
              <a:noFill/>
            </a:ln>
          </p:spPr>
          <p:txBody>
            <a:bodyPr anchor="ctr" anchorCtr="0" bIns="33875" lIns="33875" rIns="33875" spcFirstLastPara="1" tIns="33875" wrap="square">
              <a:noAutofit/>
            </a:bodyPr>
            <a:p>
              <a:pPr algn="ctr" indent="0" lvl="0" marL="0" marR="0" rtl="0">
                <a:lnSpc>
                  <a:spcPct val="15555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sz="1200" i="0" strike="noStrike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145791" name="Google Shape;2619;g19cd92314ba_6_0"/>
          <p:cNvCxnSpPr>
            <a:cxnSpLocks/>
          </p:cNvCxnSpPr>
          <p:nvPr/>
        </p:nvCxnSpPr>
        <p:spPr>
          <a:xfrm>
            <a:off x="9241865" y="1750730"/>
            <a:ext cx="11661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92" name="Google Shape;2620;g19cd92314ba_6_0"/>
          <p:cNvCxnSpPr>
            <a:cxnSpLocks/>
          </p:cNvCxnSpPr>
          <p:nvPr/>
        </p:nvCxnSpPr>
        <p:spPr>
          <a:xfrm rot="-5400000">
            <a:off x="10203582" y="1923154"/>
            <a:ext cx="3774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oval" w="lg" len="lg"/>
            <a:tailEnd type="none" w="sm" len="sm"/>
          </a:ln>
        </p:spPr>
      </p:cxnSp>
      <p:sp>
        <p:nvSpPr>
          <p:cNvPr id="1050162" name="Google Shape;2621;g19cd92314ba_6_0"/>
          <p:cNvSpPr txBox="1"/>
          <p:nvPr/>
        </p:nvSpPr>
        <p:spPr>
          <a:xfrm>
            <a:off x="8788114" y="1496126"/>
            <a:ext cx="634314" cy="716617"/>
          </a:xfrm>
          <a:prstGeom prst="rect"/>
          <a:noFill/>
          <a:ln>
            <a:noFill/>
          </a:ln>
        </p:spPr>
        <p:txBody>
          <a:bodyPr anchor="ctr" anchorCtr="0" bIns="33875" lIns="33875" rIns="33875" spcFirstLastPara="1" tIns="33875" wrap="square">
            <a:noAutofit/>
          </a:bodyPr>
          <a:p>
            <a:pPr algn="ctr" indent="0" lvl="0" marL="0" marR="0" rtl="0">
              <a:lnSpc>
                <a:spcPct val="155555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200" i="0" strike="noStrike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163" name="Google Shape;2622;g19cd92314ba_6_0"/>
          <p:cNvSpPr/>
          <p:nvPr/>
        </p:nvSpPr>
        <p:spPr>
          <a:xfrm>
            <a:off x="8716666" y="1477101"/>
            <a:ext cx="777211" cy="811743"/>
          </a:xfrm>
          <a:custGeom>
            <a:avLst/>
            <a:ahLst/>
            <a:rect l="l" t="t" r="r" b="b"/>
            <a:pathLst>
              <a:path w="809173" h="812800" extrusionOk="0">
                <a:moveTo>
                  <a:pt x="404587" y="0"/>
                </a:moveTo>
                <a:cubicBezTo>
                  <a:pt x="628326" y="1001"/>
                  <a:pt x="809174" y="182659"/>
                  <a:pt x="809174" y="406400"/>
                </a:cubicBezTo>
                <a:cubicBezTo>
                  <a:pt x="809174" y="630141"/>
                  <a:pt x="628326" y="811799"/>
                  <a:pt x="404587" y="812800"/>
                </a:cubicBezTo>
                <a:cubicBezTo>
                  <a:pt x="180848" y="811799"/>
                  <a:pt x="0" y="630141"/>
                  <a:pt x="0" y="406400"/>
                </a:cubicBezTo>
                <a:cubicBezTo>
                  <a:pt x="0" y="182659"/>
                  <a:pt x="180848" y="1001"/>
                  <a:pt x="404587" y="0"/>
                </a:cubicBezTo>
                <a:close/>
              </a:path>
            </a:pathLst>
          </a:custGeom>
          <a:solidFill>
            <a:srgbClr val="3D85C6"/>
          </a:solidFill>
          <a:ln w="95250" cap="flat" cmpd="sng">
            <a:solidFill>
              <a:srgbClr val="FDFDFD"/>
            </a:solidFill>
            <a:prstDash val="solid"/>
            <a:round/>
            <a:headEnd type="none" w="sm" len="sm"/>
            <a:tailEnd type="none" w="sm" len="sm"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cxnSp>
        <p:nvCxnSpPr>
          <p:cNvPr id="3145793" name="Google Shape;2623;g19cd92314ba_6_0"/>
          <p:cNvCxnSpPr>
            <a:cxnSpLocks/>
          </p:cNvCxnSpPr>
          <p:nvPr/>
        </p:nvCxnSpPr>
        <p:spPr>
          <a:xfrm>
            <a:off x="9210490" y="6166114"/>
            <a:ext cx="11661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45794" name="Google Shape;2624;g19cd92314ba_6_0"/>
          <p:cNvCxnSpPr>
            <a:cxnSpLocks/>
          </p:cNvCxnSpPr>
          <p:nvPr/>
        </p:nvCxnSpPr>
        <p:spPr>
          <a:xfrm rot="-5400000">
            <a:off x="10212557" y="6034077"/>
            <a:ext cx="2967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1050164" name="Google Shape;2625;g19cd92314ba_6_0"/>
          <p:cNvSpPr txBox="1"/>
          <p:nvPr/>
        </p:nvSpPr>
        <p:spPr>
          <a:xfrm>
            <a:off x="8788114" y="5660064"/>
            <a:ext cx="634314" cy="716617"/>
          </a:xfrm>
          <a:prstGeom prst="rect"/>
          <a:noFill/>
          <a:ln>
            <a:noFill/>
          </a:ln>
        </p:spPr>
        <p:txBody>
          <a:bodyPr anchor="ctr" anchorCtr="0" bIns="33875" lIns="33875" rIns="33875" spcFirstLastPara="1" tIns="33875" wrap="square">
            <a:noAutofit/>
          </a:bodyPr>
          <a:p>
            <a:pPr algn="ctr" indent="0" lvl="0" marL="0" marR="0" rtl="0">
              <a:lnSpc>
                <a:spcPct val="155555"/>
              </a:lnSpc>
              <a:spcBef>
                <a:spcPts val="0"/>
              </a:spcBef>
              <a:spcAft>
                <a:spcPts val="0"/>
              </a:spcAft>
              <a:buNone/>
            </a:pPr>
            <a:endParaRPr b="0" cap="none" sz="1200" i="0" strike="noStrike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165" name="Google Shape;2626;g19cd92314ba_6_0"/>
          <p:cNvSpPr/>
          <p:nvPr/>
        </p:nvSpPr>
        <p:spPr>
          <a:xfrm>
            <a:off x="8716666" y="5641039"/>
            <a:ext cx="777211" cy="811743"/>
          </a:xfrm>
          <a:custGeom>
            <a:avLst/>
            <a:ahLst/>
            <a:rect l="l" t="t" r="r" b="b"/>
            <a:pathLst>
              <a:path w="809173" h="812800" extrusionOk="0">
                <a:moveTo>
                  <a:pt x="404587" y="0"/>
                </a:moveTo>
                <a:cubicBezTo>
                  <a:pt x="628326" y="1001"/>
                  <a:pt x="809174" y="182659"/>
                  <a:pt x="809174" y="406400"/>
                </a:cubicBezTo>
                <a:cubicBezTo>
                  <a:pt x="809174" y="630141"/>
                  <a:pt x="628326" y="811799"/>
                  <a:pt x="404587" y="812800"/>
                </a:cubicBezTo>
                <a:cubicBezTo>
                  <a:pt x="180848" y="811799"/>
                  <a:pt x="0" y="630141"/>
                  <a:pt x="0" y="406400"/>
                </a:cubicBezTo>
                <a:cubicBezTo>
                  <a:pt x="0" y="182659"/>
                  <a:pt x="180848" y="1001"/>
                  <a:pt x="404587" y="0"/>
                </a:cubicBezTo>
                <a:close/>
              </a:path>
            </a:pathLst>
          </a:custGeom>
          <a:solidFill>
            <a:srgbClr val="E06666"/>
          </a:solidFill>
          <a:ln w="95250" cap="flat" cmpd="sng">
            <a:solidFill>
              <a:srgbClr val="FDFDFD"/>
            </a:solidFill>
            <a:prstDash val="solid"/>
            <a:round/>
            <a:headEnd type="none" w="sm" len="sm"/>
            <a:tailEnd type="none" w="sm" len="sm"/>
          </a:ln>
        </p:spPr>
        <p:txBody>
          <a:bodyPr anchor="ctr" anchorCtr="0" bIns="60950" lIns="60950" rIns="60950" spcFirstLastPara="1" tIns="60950" wrap="square">
            <a:noAutofit/>
          </a:bodyPr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1050166" name="Google Shape;2627;g19cd92314ba_6_0"/>
          <p:cNvSpPr txBox="1"/>
          <p:nvPr/>
        </p:nvSpPr>
        <p:spPr>
          <a:xfrm>
            <a:off x="469450" y="2163293"/>
            <a:ext cx="2068800" cy="380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Loyal Customer</a:t>
            </a:r>
            <a:endParaRPr sz="9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67" name="Google Shape;2628;g19cd92314ba_6_0"/>
          <p:cNvSpPr txBox="1"/>
          <p:nvPr/>
        </p:nvSpPr>
        <p:spPr>
          <a:xfrm>
            <a:off x="469450" y="2516351"/>
            <a:ext cx="2068800" cy="13716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7620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None/>
            </a:pP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oyalty program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/reward point and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exclusive item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offers (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ross / Up Selling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Strategy)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68" name="Google Shape;2629;g19cd92314ba_6_0"/>
          <p:cNvSpPr txBox="1"/>
          <p:nvPr/>
        </p:nvSpPr>
        <p:spPr>
          <a:xfrm>
            <a:off x="469450" y="4274066"/>
            <a:ext cx="2068800" cy="3809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rom</a:t>
            </a:r>
            <a:r>
              <a:rPr b="1" sz="1500" lang="en-ID">
                <a:latin typeface="Roboto"/>
                <a:ea typeface="Roboto"/>
                <a:cs typeface="Roboto"/>
                <a:sym typeface="Roboto"/>
              </a:rPr>
              <a:t>i</a:t>
            </a: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sing Customer</a:t>
            </a:r>
            <a:endParaRPr sz="9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69" name="Google Shape;2630;g19cd92314ba_6_0"/>
          <p:cNvSpPr txBox="1"/>
          <p:nvPr/>
        </p:nvSpPr>
        <p:spPr>
          <a:xfrm>
            <a:off x="469450" y="4650385"/>
            <a:ext cx="2068800" cy="13335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r" indent="0" lvl="0" marL="76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gular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imited offers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scount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vouchers and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ashback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via email (Retention Strategy).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r" indent="0" lvl="0" marL="0" marR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rgbClr val="63696F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sp>
        <p:nvSpPr>
          <p:cNvPr id="1050170" name="Google Shape;2631;g19cd92314ba_6_0"/>
          <p:cNvSpPr txBox="1"/>
          <p:nvPr/>
        </p:nvSpPr>
        <p:spPr>
          <a:xfrm>
            <a:off x="9675741" y="2163558"/>
            <a:ext cx="2068800" cy="381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New Customer</a:t>
            </a:r>
            <a:endParaRPr sz="9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71" name="Google Shape;2632;g19cd92314ba_6_0"/>
          <p:cNvSpPr txBox="1"/>
          <p:nvPr/>
        </p:nvSpPr>
        <p:spPr>
          <a:xfrm>
            <a:off x="9599541" y="2523214"/>
            <a:ext cx="2068800" cy="16002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76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“Welcome email” to build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lationships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offer loyalty programs/reward points, and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scount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vouchers (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ross / Up Selling 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trategy).</a:t>
            </a:r>
            <a:endParaRPr sz="1300">
              <a:solidFill>
                <a:srgbClr val="63696F"/>
              </a:solidFill>
              <a:latin typeface="Roboto Medium"/>
              <a:ea typeface="Roboto Medium"/>
              <a:cs typeface="Roboto Medium"/>
              <a:sym typeface="Roboto Medium"/>
            </a:endParaRPr>
          </a:p>
        </p:txBody>
      </p:sp>
      <p:sp>
        <p:nvSpPr>
          <p:cNvPr id="1050172" name="Google Shape;2633;g19cd92314ba_6_0"/>
          <p:cNvSpPr txBox="1"/>
          <p:nvPr/>
        </p:nvSpPr>
        <p:spPr>
          <a:xfrm>
            <a:off x="9675741" y="4239786"/>
            <a:ext cx="2068800" cy="3810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lnSpc>
                <a:spcPct val="1400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1500" i="0" lang="en-ID" strike="noStrike" u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Lost Potential</a:t>
            </a:r>
            <a:endParaRPr sz="9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50173" name="Google Shape;2634;g19cd92314ba_6_0"/>
          <p:cNvSpPr txBox="1"/>
          <p:nvPr/>
        </p:nvSpPr>
        <p:spPr>
          <a:xfrm>
            <a:off x="9599541" y="4599707"/>
            <a:ext cx="2068800" cy="13334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76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Raleway"/>
              <a:buNone/>
            </a:pP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gular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imited offers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scount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vouchers, and </a:t>
            </a:r>
            <a:r>
              <a:rPr b="1"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ashback</a:t>
            </a:r>
            <a:r>
              <a:rPr sz="1300" lang="en-ID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via e-mail (Retention &amp; Reactivate Strategies).</a:t>
            </a:r>
            <a:endParaRPr sz="1300"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3145795" name="Google Shape;2635;g19cd92314ba_6_0"/>
          <p:cNvCxnSpPr>
            <a:cxnSpLocks/>
          </p:cNvCxnSpPr>
          <p:nvPr/>
        </p:nvCxnSpPr>
        <p:spPr>
          <a:xfrm rot="-5400000">
            <a:off x="1558547" y="1923154"/>
            <a:ext cx="377400" cy="0"/>
          </a:xfrm>
          <a:prstGeom prst="straightConnector1"/>
          <a:noFill/>
          <a:ln w="19050" cap="flat" cmpd="sng">
            <a:solidFill>
              <a:srgbClr val="8A837A"/>
            </a:solidFill>
            <a:prstDash val="solid"/>
            <a:round/>
            <a:headEnd type="oval" w="lg" len="lg"/>
            <a:tailEnd type="none" w="sm" len="sm"/>
          </a:ln>
        </p:spPr>
      </p:cxnSp>
      <p:sp>
        <p:nvSpPr>
          <p:cNvPr id="1050174" name="Google Shape;2636;g19cd92314ba_6_0"/>
          <p:cNvSpPr txBox="1"/>
          <p:nvPr/>
        </p:nvSpPr>
        <p:spPr>
          <a:xfrm>
            <a:off x="2823054" y="1753032"/>
            <a:ext cx="422400" cy="4318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900"/>
          </a:p>
        </p:txBody>
      </p:sp>
      <p:sp>
        <p:nvSpPr>
          <p:cNvPr id="1050175" name="Google Shape;2637;g19cd92314ba_6_0"/>
          <p:cNvSpPr txBox="1"/>
          <p:nvPr/>
        </p:nvSpPr>
        <p:spPr>
          <a:xfrm>
            <a:off x="2823054" y="5916970"/>
            <a:ext cx="422400" cy="4317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cap="none" sz="2000" i="0" lang="en-ID" strike="noStrike" u="none">
                <a:solidFill>
                  <a:schemeClr val="lt1"/>
                </a:solidFill>
                <a:latin typeface="Barlow Medium"/>
                <a:ea typeface="Barlow Medium"/>
                <a:cs typeface="Barlow Medium"/>
                <a:sym typeface="Barlow Medium"/>
              </a:rPr>
              <a:t>3</a:t>
            </a:r>
            <a:endParaRPr sz="900">
              <a:solidFill>
                <a:schemeClr val="lt1"/>
              </a:solidFill>
            </a:endParaRPr>
          </a:p>
        </p:txBody>
      </p:sp>
      <p:sp>
        <p:nvSpPr>
          <p:cNvPr id="1050176" name="Google Shape;2638;g19cd92314ba_6_0"/>
          <p:cNvSpPr txBox="1"/>
          <p:nvPr/>
        </p:nvSpPr>
        <p:spPr>
          <a:xfrm>
            <a:off x="8894058" y="1753032"/>
            <a:ext cx="422400" cy="4318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b="1" sz="900"/>
          </a:p>
        </p:txBody>
      </p:sp>
      <p:sp>
        <p:nvSpPr>
          <p:cNvPr id="1050177" name="Google Shape;2639;g19cd92314ba_6_0"/>
          <p:cNvSpPr txBox="1"/>
          <p:nvPr/>
        </p:nvSpPr>
        <p:spPr>
          <a:xfrm>
            <a:off x="8894058" y="5916970"/>
            <a:ext cx="422400" cy="431799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ctr" indent="0" lvl="0" marL="0" marR="0" rtl="0">
              <a:lnSpc>
                <a:spcPct val="1399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cap="none" sz="2000" i="0" lang="en-ID" strike="noStrike" u="none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900"/>
          </a:p>
        </p:txBody>
      </p:sp>
      <p:sp>
        <p:nvSpPr>
          <p:cNvPr id="1050178" name="Google Shape;2640;g19cd92314ba_6_0"/>
          <p:cNvSpPr txBox="1"/>
          <p:nvPr/>
        </p:nvSpPr>
        <p:spPr>
          <a:xfrm>
            <a:off x="0" y="50464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Recommendation Business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70" name="Shape 2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181" name="Google Shape;2646;g19b4d37e0d4_0_44"/>
          <p:cNvSpPr txBox="1"/>
          <p:nvPr/>
        </p:nvSpPr>
        <p:spPr>
          <a:xfrm>
            <a:off x="0" y="38018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Estimated Loss &amp; Revenue Uplift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471" name="Google Shape;2647;g19b4d37e0d4_0_44"/>
          <p:cNvGrpSpPr/>
          <p:nvPr/>
        </p:nvGrpSpPr>
        <p:grpSpPr>
          <a:xfrm>
            <a:off x="8415807" y="4548630"/>
            <a:ext cx="4104390" cy="1789808"/>
            <a:chOff x="8312937" y="4836630"/>
            <a:chExt cx="4104390" cy="1789808"/>
          </a:xfrm>
        </p:grpSpPr>
        <p:sp>
          <p:nvSpPr>
            <p:cNvPr id="1050182" name="Google Shape;2648;g19b4d37e0d4_0_44"/>
            <p:cNvSpPr txBox="1"/>
            <p:nvPr/>
          </p:nvSpPr>
          <p:spPr>
            <a:xfrm>
              <a:off x="8595088" y="6164738"/>
              <a:ext cx="3348600" cy="4617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r" indent="0" lvl="0" marL="0" marR="0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r>
                <a:rPr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Payment </a:t>
              </a:r>
              <a:r>
                <a:rPr b="1"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Debit Card </a:t>
              </a:r>
              <a:r>
                <a:rPr b="1" sz="2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$78,543</a:t>
              </a:r>
              <a:endParaRPr b="1" sz="14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50183" name="Google Shape;2649;g19b4d37e0d4_0_44"/>
            <p:cNvSpPr txBox="1"/>
            <p:nvPr/>
          </p:nvSpPr>
          <p:spPr>
            <a:xfrm>
              <a:off x="9528327" y="4836630"/>
              <a:ext cx="2889000" cy="396199"/>
            </a:xfrm>
            <a:prstGeom prst="rect"/>
            <a:solidFill>
              <a:srgbClr val="E5EBED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r>
                <a:rPr b="1" sz="1400" lang="en-ID" u="sng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Estimated Revenue Uplift :</a:t>
              </a:r>
            </a:p>
          </p:txBody>
        </p:sp>
        <p:sp>
          <p:nvSpPr>
            <p:cNvPr id="1050184" name="Google Shape;2650;g19b4d37e0d4_0_44"/>
            <p:cNvSpPr txBox="1"/>
            <p:nvPr/>
          </p:nvSpPr>
          <p:spPr>
            <a:xfrm>
              <a:off x="8312937" y="5233072"/>
              <a:ext cx="3687900" cy="4617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r" indent="0" lvl="0" marL="0" marR="0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r>
                <a:rPr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Order </a:t>
              </a:r>
              <a:r>
                <a:rPr b="1"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category grocery </a:t>
              </a:r>
              <a:r>
                <a:rPr b="1" sz="2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$42,448</a:t>
              </a:r>
              <a:endParaRPr b="1"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50185" name="Google Shape;2651;g19b4d37e0d4_0_44"/>
            <p:cNvSpPr txBox="1"/>
            <p:nvPr/>
          </p:nvSpPr>
          <p:spPr>
            <a:xfrm>
              <a:off x="8529896" y="5732287"/>
              <a:ext cx="3447900" cy="4617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r" indent="0" lvl="0" marL="0" marR="0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r>
                <a:rPr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Payment </a:t>
              </a:r>
              <a:r>
                <a:rPr b="1" sz="1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Credit Card </a:t>
              </a:r>
              <a:r>
                <a:rPr b="1" sz="24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$91,785 </a:t>
              </a:r>
              <a:endParaRPr b="1" sz="18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</p:grpSp>
      <p:grpSp>
        <p:nvGrpSpPr>
          <p:cNvPr id="472" name="Google Shape;2652;g19b4d37e0d4_0_44"/>
          <p:cNvGrpSpPr/>
          <p:nvPr/>
        </p:nvGrpSpPr>
        <p:grpSpPr>
          <a:xfrm>
            <a:off x="323350" y="4843225"/>
            <a:ext cx="1941242" cy="1310162"/>
            <a:chOff x="6278850" y="4767296"/>
            <a:chExt cx="1696742" cy="1310162"/>
          </a:xfrm>
        </p:grpSpPr>
        <p:sp>
          <p:nvSpPr>
            <p:cNvPr id="1050186" name="Google Shape;2653;g19b4d37e0d4_0_44"/>
            <p:cNvSpPr txBox="1"/>
            <p:nvPr/>
          </p:nvSpPr>
          <p:spPr>
            <a:xfrm>
              <a:off x="6541292" y="5103958"/>
              <a:ext cx="1434300" cy="973500"/>
            </a:xfrm>
            <a:prstGeom prst="rect"/>
            <a:noFill/>
            <a:ln>
              <a:noFill/>
            </a:ln>
          </p:spPr>
          <p:txBody>
            <a:bodyPr anchor="t" anchorCtr="0" bIns="121900" lIns="121900" rIns="121900" spcFirstLastPara="1" tIns="121900" wrap="square">
              <a:noAutofit/>
            </a:bodyPr>
            <a:p>
              <a:pPr algn="r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Arial"/>
                <a:buNone/>
              </a:pPr>
              <a:r>
                <a:rPr b="1" sz="1600" lang="en-ID">
                  <a:solidFill>
                    <a:schemeClr val="dk1"/>
                  </a:solidFill>
                  <a:highlight>
                    <a:srgbClr val="E7ECEE"/>
                  </a:highlight>
                  <a:latin typeface="Raleway"/>
                  <a:ea typeface="Raleway"/>
                  <a:cs typeface="Raleway"/>
                  <a:sym typeface="Raleway"/>
                </a:rPr>
                <a:t>Total Expected Loss</a:t>
              </a:r>
              <a:endParaRPr b="1" sz="1600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1050187" name="Google Shape;2654;g19b4d37e0d4_0_44"/>
            <p:cNvSpPr txBox="1"/>
            <p:nvPr/>
          </p:nvSpPr>
          <p:spPr>
            <a:xfrm>
              <a:off x="6278850" y="4767296"/>
              <a:ext cx="1137300" cy="10773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3200" lang="en-ID">
                  <a:solidFill>
                    <a:schemeClr val="dk1"/>
                  </a:solidFill>
                  <a:latin typeface="Raleway"/>
                  <a:ea typeface="Raleway"/>
                  <a:cs typeface="Raleway"/>
                  <a:sym typeface="Raleway"/>
                </a:rPr>
                <a:t>$910,687</a:t>
              </a:r>
              <a:endParaRPr sz="3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097244" name="Google Shape;2655;g19b4d37e0d4_0_44"/>
          <p:cNvPicPr preferRelativeResize="0">
            <a:picLocks/>
          </p:cNvPicPr>
          <p:nvPr/>
        </p:nvPicPr>
        <p:blipFill>
          <a:blip xmlns:r="http://schemas.openxmlformats.org/officeDocument/2006/relationships" r:embed="rId1">
            <a:alphaModFix/>
          </a:blip>
          <a:stretch>
            <a:fillRect/>
          </a:stretch>
        </p:blipFill>
        <p:spPr>
          <a:xfrm>
            <a:off x="0" y="1268184"/>
            <a:ext cx="3083284" cy="2255410"/>
          </a:xfrm>
          <a:prstGeom prst="rect"/>
          <a:noFill/>
          <a:ln>
            <a:noFill/>
          </a:ln>
        </p:spPr>
      </p:pic>
      <p:pic>
        <p:nvPicPr>
          <p:cNvPr id="2097245" name="Google Shape;2656;g19b4d37e0d4_0_44"/>
          <p:cNvPicPr preferRelativeResize="0">
            <a:picLocks/>
          </p:cNvPicPr>
          <p:nvPr/>
        </p:nvPicPr>
        <p:blipFill>
          <a:blip xmlns:r="http://schemas.openxmlformats.org/officeDocument/2006/relationships" r:embed="rId2">
            <a:alphaModFix/>
          </a:blip>
          <a:stretch>
            <a:fillRect/>
          </a:stretch>
        </p:blipFill>
        <p:spPr>
          <a:xfrm>
            <a:off x="3101116" y="1268184"/>
            <a:ext cx="3046578" cy="2255410"/>
          </a:xfrm>
          <a:prstGeom prst="rect"/>
          <a:noFill/>
          <a:ln>
            <a:noFill/>
          </a:ln>
        </p:spPr>
      </p:pic>
      <p:pic>
        <p:nvPicPr>
          <p:cNvPr id="2097246" name="Google Shape;2657;g19b4d37e0d4_0_44"/>
          <p:cNvPicPr preferRelativeResize="0">
            <a:picLocks/>
          </p:cNvPicPr>
          <p:nvPr/>
        </p:nvPicPr>
        <p:blipFill>
          <a:blip xmlns:r="http://schemas.openxmlformats.org/officeDocument/2006/relationships" r:embed="rId3">
            <a:alphaModFix/>
          </a:blip>
          <a:stretch>
            <a:fillRect/>
          </a:stretch>
        </p:blipFill>
        <p:spPr>
          <a:xfrm>
            <a:off x="6165527" y="1268184"/>
            <a:ext cx="3046578" cy="2255410"/>
          </a:xfrm>
          <a:prstGeom prst="rect"/>
          <a:noFill/>
          <a:ln>
            <a:noFill/>
          </a:ln>
        </p:spPr>
      </p:pic>
      <p:pic>
        <p:nvPicPr>
          <p:cNvPr id="2097247" name="Google Shape;2658;g19b4d37e0d4_0_44"/>
          <p:cNvPicPr preferRelativeResize="0">
            <a:picLocks/>
          </p:cNvPicPr>
          <p:nvPr/>
        </p:nvPicPr>
        <p:blipFill>
          <a:blip xmlns:r="http://schemas.openxmlformats.org/officeDocument/2006/relationships" r:embed="rId4">
            <a:alphaModFix/>
          </a:blip>
          <a:stretch>
            <a:fillRect/>
          </a:stretch>
        </p:blipFill>
        <p:spPr>
          <a:xfrm>
            <a:off x="9212105" y="1268175"/>
            <a:ext cx="3046571" cy="2318000"/>
          </a:xfrm>
          <a:prstGeom prst="rect"/>
          <a:noFill/>
          <a:ln>
            <a:noFill/>
          </a:ln>
        </p:spPr>
      </p:pic>
      <p:graphicFrame>
        <p:nvGraphicFramePr>
          <p:cNvPr id="4194314" name="Google Shape;2659;g19b4d37e0d4_0_44"/>
          <p:cNvGraphicFramePr>
            <a:graphicFrameLocks/>
          </p:cNvGraphicFramePr>
          <p:nvPr/>
        </p:nvGraphicFramePr>
        <p:xfrm>
          <a:off x="3581400" y="4053258"/>
          <a:ext cx="4495225" cy="2492200"/>
        </p:xfrm>
        <a:graphic>
          <a:graphicData uri="http://schemas.openxmlformats.org/drawingml/2006/table">
            <a:tbl>
              <a:tblPr>
                <a:noFill/>
                <a:tableStyleId>{726F3168-D1F7-47F0-8820-FD288A7B8962}</a:tableStyleId>
              </a:tblPr>
              <a:tblGrid>
                <a:gridCol w="770775"/>
                <a:gridCol w="708100"/>
                <a:gridCol w="447650"/>
                <a:gridCol w="642175"/>
                <a:gridCol w="642175"/>
                <a:gridCol w="642175"/>
                <a:gridCol w="642175"/>
              </a:tblGrid>
              <a:tr h="739500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FM Segmen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RFM Segment Score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n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us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sum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Exp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Loss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sum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Grocer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Uplif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sum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redi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ard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Uplif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sum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Debi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Card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Raleway"/>
                        <a:buNone/>
                      </a:pPr>
                      <a:r>
                        <a:rPr b="1" cap="none" sz="9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Uplift</a:t>
                      </a:r>
                      <a:endParaRPr b="1" cap="none" sz="9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Loyal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8E7CC3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6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5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9740.67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600.41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221.61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463.7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New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6A5AF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4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9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2903.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1372.4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987.19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389.94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</a:tr>
              <a:tr h="4361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Promising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6AA84F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3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48200.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271.93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944.68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3975.56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</a:tr>
              <a:tr h="444325"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Lost Potential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06666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b="1"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</a:t>
                      </a:r>
                      <a:endParaRPr b="1"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25.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0.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5.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  <a:tc>
                  <a:txBody>
                    <a:bodyPr/>
                    <a:p>
                      <a:pPr algn="ctr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Raleway"/>
                        <a:buNone/>
                      </a:pPr>
                      <a:r>
                        <a:rPr cap="none" sz="1000" lang="en-ID" strike="noStrike" u="none">
                          <a:solidFill>
                            <a:schemeClr val="dk1"/>
                          </a:solidFill>
                          <a:latin typeface="Raleway"/>
                          <a:ea typeface="Raleway"/>
                          <a:cs typeface="Raleway"/>
                          <a:sym typeface="Raleway"/>
                        </a:rPr>
                        <a:t>25.00</a:t>
                      </a:r>
                      <a:endParaRPr cap="none" sz="1000" strike="noStrike" u="none">
                        <a:solidFill>
                          <a:schemeClr val="dk1"/>
                        </a:solidFill>
                        <a:latin typeface="Raleway"/>
                        <a:ea typeface="Raleway"/>
                        <a:cs typeface="Raleway"/>
                        <a:sym typeface="Raleway"/>
                      </a:endParaRPr>
                    </a:p>
                  </a:txBody>
                  <a:tcPr marL="66675" marR="66675" marT="66675" marB="6667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BE4D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4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7"/>
                                        <p:tgtEl>
                                          <p:spTgt spid="4194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8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1000" id="13"/>
                                        <p:tgtEl>
                                          <p:spTgt spid="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75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H="344" imgW="344" progId="TCLayout.ActiveDocument.1">
                  <p:embed/>
                </p:oleObj>
              </mc:Choice>
              <mc:Fallback>
                <p:oleObj name="think-cell Slide" r:id="rId2" imgH="344" imgW="344" progId="TCLayout.ActiveDocument.1">
                  <p:embed/>
                  <p:pic>
                    <p:nvPicPr>
                      <p:cNvPr id="2097248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/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191" name="TextBox 6"/>
          <p:cNvSpPr txBox="1"/>
          <p:nvPr/>
        </p:nvSpPr>
        <p:spPr>
          <a:xfrm>
            <a:off x="1765302" y="1183144"/>
            <a:ext cx="1701800" cy="419100"/>
          </a:xfrm>
          <a:prstGeom prst="rect"/>
          <a:noFill/>
        </p:spPr>
        <p:txBody>
          <a:bodyPr bIns="0" lIns="0" numCol="1" rIns="0" rtlCol="0" tIns="0" wrap="none">
            <a:spAutoFit/>
          </a:bodyPr>
          <a:p>
            <a:r>
              <a:rPr altLang="de-DE" dirty="0" sz="2800" lang="de-DE" spc="300">
                <a:solidFill>
                  <a:schemeClr val="accent1">
                    <a:lumMod val="50000"/>
                  </a:schemeClr>
                </a:solidFill>
                <a:latin typeface="Fredoka One" panose="02000000000000000000" pitchFamily="2" charset="0"/>
              </a:rPr>
              <a:t>SUMMARY</a:t>
            </a:r>
          </a:p>
        </p:txBody>
      </p:sp>
      <p:sp>
        <p:nvSpPr>
          <p:cNvPr id="1050192" name="Oval 8"/>
          <p:cNvSpPr/>
          <p:nvPr/>
        </p:nvSpPr>
        <p:spPr>
          <a:xfrm>
            <a:off x="1173191" y="814358"/>
            <a:ext cx="455584" cy="455584"/>
          </a:xfrm>
          <a:prstGeom prst="ellipse"/>
          <a:solidFill>
            <a:schemeClr val="accent5">
              <a:lumMod val="5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73152" lIns="73152" numCol="1" rIns="73152" rtlCol="0" tIns="73152"/>
          <a:p>
            <a:pPr algn="ctr"/>
            <a:endParaRPr altLang="de-DE" dirty="0" sz="1000" kern="0" lang="de-DE" err="1">
              <a:solidFill>
                <a:schemeClr val="tx1"/>
              </a:solidFill>
            </a:endParaRPr>
          </a:p>
        </p:txBody>
      </p:sp>
      <p:sp>
        <p:nvSpPr>
          <p:cNvPr id="1050193" name="TextBox 12"/>
          <p:cNvSpPr txBox="1"/>
          <p:nvPr/>
        </p:nvSpPr>
        <p:spPr>
          <a:xfrm>
            <a:off x="7877008" y="1162757"/>
            <a:ext cx="1701801" cy="419101"/>
          </a:xfrm>
          <a:prstGeom prst="rect"/>
          <a:noFill/>
        </p:spPr>
        <p:txBody>
          <a:bodyPr bIns="0" lIns="0" numCol="1" rIns="0" rtlCol="0" tIns="0" wrap="none">
            <a:spAutoFit/>
          </a:bodyPr>
          <a:p>
            <a:r>
              <a:rPr altLang="de-DE" dirty="0" sz="2800" lang="de-DE" spc="300">
                <a:solidFill>
                  <a:schemeClr val="bg1">
                    <a:lumMod val="95000"/>
                  </a:schemeClr>
                </a:solidFill>
                <a:latin typeface="Fredoka One" panose="02000000000000000000" pitchFamily="2" charset="0"/>
              </a:rPr>
              <a:t>SUMMARY</a:t>
            </a:r>
          </a:p>
        </p:txBody>
      </p:sp>
      <p:sp>
        <p:nvSpPr>
          <p:cNvPr id="1050194" name="TextBox 23"/>
          <p:cNvSpPr txBox="1"/>
          <p:nvPr/>
        </p:nvSpPr>
        <p:spPr>
          <a:xfrm>
            <a:off x="1765303" y="1916569"/>
            <a:ext cx="4006847" cy="4381500"/>
          </a:xfrm>
          <a:prstGeom prst="rect"/>
          <a:noFill/>
        </p:spPr>
        <p:txBody>
          <a:bodyPr bIns="0" lIns="0" numCol="1" rIns="0" rtlCol="0" tIns="0" wrap="square">
            <a:spAutoFit/>
          </a:bodyPr>
          <a:p>
            <a:pPr indent="-285750" marL="285750">
              <a:lnSpc>
                <a:spcPct val="100000"/>
              </a:lnSpc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From the data visualization, it is obtained that the churn ratio has a correlation with tenure, complaints, cashback Amount, &amp; preferred order cat.</a:t>
            </a:r>
          </a:p>
          <a:p>
            <a:pPr indent="-285750" marL="285750">
              <a:lnSpc>
                <a:spcPct val="100000"/>
              </a:lnSpc>
              <a:buSzPts val="3700"/>
              <a:buFont typeface="Wingdings" panose="05000000000000000000" pitchFamily="2" charset="2"/>
              <a:buChar char="ü"/>
            </a:pPr>
            <a:endParaRPr dirty="0" sz="1600" lang="en-US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The results of predicting churn are strongly influenced by the level of Tenure, Complaint, Number of Addresses, and cashback Amount.</a:t>
            </a: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endParaRPr dirty="0" sz="1600" lang="en-ID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The results of the Survival Analysis, the customer has the greatest survival chance in No Complain, Marital Status Married, Payment Mode Credit Card, Order Category Grocery.</a:t>
            </a:r>
            <a:endParaRPr dirty="0" sz="1600" lang="en-ID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50195" name="TextBox 24"/>
          <p:cNvSpPr txBox="1"/>
          <p:nvPr/>
        </p:nvSpPr>
        <p:spPr>
          <a:xfrm>
            <a:off x="6581608" y="1916569"/>
            <a:ext cx="4992329" cy="2971800"/>
          </a:xfrm>
          <a:prstGeom prst="rect"/>
          <a:noFill/>
        </p:spPr>
        <p:txBody>
          <a:bodyPr bIns="0" lIns="0" numCol="1" rIns="0" rtlCol="0" tIns="0" wrap="square">
            <a:spAutoFit/>
          </a:bodyPr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RFM Segmentation results show priority customer treatment in the Loyal, New, Promising, and Lost Potential segments.</a:t>
            </a:r>
            <a:r>
              <a:rPr dirty="0" sz="1800" lang="en-ID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endParaRPr dirty="0" sz="1800" lang="en-ID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tal Expected Loss of $ 910,687</a:t>
            </a: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endParaRPr dirty="0" sz="1800" lang="en-US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Estimated Revenue Uplift</a:t>
            </a:r>
          </a:p>
          <a:p>
            <a:pPr marL="446087"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Order category Grocery $42,448</a:t>
            </a:r>
          </a:p>
          <a:p>
            <a:pPr marL="446087"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yment Credit Card $ 91,785 </a:t>
            </a:r>
          </a:p>
          <a:p>
            <a:pPr marL="446087">
              <a:lnSpc>
                <a:spcPct val="100000"/>
              </a:lnSpc>
              <a:spcBef>
                <a:spcPts val="0"/>
              </a:spcBef>
              <a:buSzPts val="3700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yment Debit Card $ 78,543</a:t>
            </a:r>
          </a:p>
        </p:txBody>
      </p:sp>
      <p:sp>
        <p:nvSpPr>
          <p:cNvPr id="1050196" name="Oval 30"/>
          <p:cNvSpPr/>
          <p:nvPr/>
        </p:nvSpPr>
        <p:spPr>
          <a:xfrm>
            <a:off x="563789" y="917517"/>
            <a:ext cx="901757" cy="901757"/>
          </a:xfrm>
          <a:prstGeom prst="ellipse"/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numCol="1" rtlCol="0"/>
          <a:p>
            <a:pPr algn="ctr"/>
            <a:endParaRPr altLang="de-DE" lang="de-DE"/>
          </a:p>
        </p:txBody>
      </p:sp>
      <p:grpSp>
        <p:nvGrpSpPr>
          <p:cNvPr id="476" name="Google Shape;2393;g191abe3b490_12_4289"/>
          <p:cNvGrpSpPr/>
          <p:nvPr/>
        </p:nvGrpSpPr>
        <p:grpSpPr>
          <a:xfrm>
            <a:off x="826494" y="1159106"/>
            <a:ext cx="393638" cy="393720"/>
            <a:chOff x="5049725" y="2027900"/>
            <a:chExt cx="481750" cy="481850"/>
          </a:xfrm>
        </p:grpSpPr>
        <p:sp>
          <p:nvSpPr>
            <p:cNvPr id="1050197" name="Google Shape;2394;g191abe3b490_12_4289"/>
            <p:cNvSpPr/>
            <p:nvPr/>
          </p:nvSpPr>
          <p:spPr>
            <a:xfrm>
              <a:off x="5191775" y="2394925"/>
              <a:ext cx="197625" cy="114825"/>
            </a:xfrm>
            <a:custGeom>
              <a:avLst/>
              <a:ah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98" name="Google Shape;2395;g191abe3b490_12_4289"/>
            <p:cNvSpPr/>
            <p:nvPr/>
          </p:nvSpPr>
          <p:spPr>
            <a:xfrm>
              <a:off x="5113625" y="2027900"/>
              <a:ext cx="347300" cy="338825"/>
            </a:xfrm>
            <a:custGeom>
              <a:avLst/>
              <a:ah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199" name="Google Shape;2396;g191abe3b490_12_4289"/>
            <p:cNvSpPr/>
            <p:nvPr/>
          </p:nvSpPr>
          <p:spPr>
            <a:xfrm>
              <a:off x="5049725" y="2197300"/>
              <a:ext cx="56400" cy="28275"/>
            </a:xfrm>
            <a:custGeom>
              <a:avLst/>
              <a:ah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0" name="Google Shape;2397;g191abe3b490_12_4289"/>
            <p:cNvSpPr/>
            <p:nvPr/>
          </p:nvSpPr>
          <p:spPr>
            <a:xfrm>
              <a:off x="5052575" y="2102800"/>
              <a:ext cx="50850" cy="48075"/>
            </a:xfrm>
            <a:custGeom>
              <a:avLst/>
              <a:ah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1" name="Google Shape;2398;g191abe3b490_12_4289"/>
            <p:cNvSpPr/>
            <p:nvPr/>
          </p:nvSpPr>
          <p:spPr>
            <a:xfrm>
              <a:off x="5052575" y="2272175"/>
              <a:ext cx="50700" cy="47900"/>
            </a:xfrm>
            <a:custGeom>
              <a:avLst/>
              <a:ah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2" name="Google Shape;2399;g191abe3b490_12_4289"/>
            <p:cNvSpPr/>
            <p:nvPr/>
          </p:nvSpPr>
          <p:spPr>
            <a:xfrm>
              <a:off x="5475050" y="2197300"/>
              <a:ext cx="56425" cy="28275"/>
            </a:xfrm>
            <a:custGeom>
              <a:avLst/>
              <a:ah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3" name="Google Shape;2400;g191abe3b490_12_4289"/>
            <p:cNvSpPr/>
            <p:nvPr/>
          </p:nvSpPr>
          <p:spPr>
            <a:xfrm>
              <a:off x="5477925" y="2102800"/>
              <a:ext cx="50675" cy="47900"/>
            </a:xfrm>
            <a:custGeom>
              <a:avLst/>
              <a:ah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4" name="Google Shape;2401;g191abe3b490_12_4289"/>
            <p:cNvSpPr/>
            <p:nvPr/>
          </p:nvSpPr>
          <p:spPr>
            <a:xfrm>
              <a:off x="5477775" y="2272000"/>
              <a:ext cx="50825" cy="48075"/>
            </a:xfrm>
            <a:custGeom>
              <a:avLst/>
              <a:ah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77" name="Google Shape;660;g191abe3b490_12_4745"/>
          <p:cNvGrpSpPr/>
          <p:nvPr/>
        </p:nvGrpSpPr>
        <p:grpSpPr>
          <a:xfrm flipH="1">
            <a:off x="942563" y="5609888"/>
            <a:ext cx="735967" cy="1220783"/>
            <a:chOff x="731955" y="3388996"/>
            <a:chExt cx="355077" cy="588982"/>
          </a:xfrm>
        </p:grpSpPr>
        <p:sp>
          <p:nvSpPr>
            <p:cNvPr id="1050205" name="Google Shape;661;g191abe3b490_12_474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6" name="Google Shape;662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7" name="Google Shape;663;g191abe3b490_12_474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8" name="Google Shape;664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09" name="Google Shape;665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0" name="Google Shape;666;g191abe3b490_12_474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1" name="Google Shape;667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2" name="Google Shape;668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3" name="Google Shape;669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4" name="Google Shape;670;g191abe3b490_12_474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5" name="Google Shape;671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6" name="Google Shape;672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17" name="Google Shape;673;g191abe3b490_12_474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4"/>
    </p:custData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8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6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H="344" imgW="344" progId="TCLayout.ActiveDocument.1">
                  <p:embed/>
                </p:oleObj>
              </mc:Choice>
              <mc:Fallback>
                <p:oleObj name="think-cell Slide" r:id="rId2" imgH="344" imgW="344" progId="TCLayout.ActiveDocument.1">
                  <p:embed/>
                  <p:pic>
                    <p:nvPicPr>
                      <p:cNvPr id="2097249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/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221" name="TextBox 6"/>
          <p:cNvSpPr txBox="1"/>
          <p:nvPr/>
        </p:nvSpPr>
        <p:spPr>
          <a:xfrm>
            <a:off x="1544064" y="1199250"/>
            <a:ext cx="1701800" cy="419101"/>
          </a:xfrm>
          <a:prstGeom prst="rect"/>
          <a:noFill/>
        </p:spPr>
        <p:txBody>
          <a:bodyPr bIns="0" lIns="0" numCol="1" rIns="0" rtlCol="0" tIns="0" wrap="none">
            <a:spAutoFit/>
          </a:bodyPr>
          <a:p>
            <a:r>
              <a:rPr altLang="de-DE" dirty="0" sz="2800" lang="de-DE" spc="300">
                <a:solidFill>
                  <a:schemeClr val="bg1">
                    <a:lumMod val="95000"/>
                  </a:schemeClr>
                </a:solidFill>
                <a:latin typeface="Fredoka One" panose="02000000000000000000" pitchFamily="2" charset="0"/>
              </a:rPr>
              <a:t>SUMMARY</a:t>
            </a:r>
          </a:p>
        </p:txBody>
      </p:sp>
      <p:sp>
        <p:nvSpPr>
          <p:cNvPr id="1050222" name="Oval 8"/>
          <p:cNvSpPr/>
          <p:nvPr/>
        </p:nvSpPr>
        <p:spPr>
          <a:xfrm>
            <a:off x="5878541" y="814358"/>
            <a:ext cx="455584" cy="455584"/>
          </a:xfrm>
          <a:prstGeom prst="ellipse"/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73152" lIns="73152" numCol="1" rIns="73152" rtlCol="0" tIns="73152"/>
          <a:p>
            <a:pPr algn="ctr"/>
            <a:endParaRPr altLang="de-DE" dirty="0" sz="1000" kern="0" lang="de-DE" err="1">
              <a:solidFill>
                <a:schemeClr val="tx1"/>
              </a:solidFill>
            </a:endParaRPr>
          </a:p>
        </p:txBody>
      </p:sp>
      <p:sp>
        <p:nvSpPr>
          <p:cNvPr id="1050223" name="TextBox 12"/>
          <p:cNvSpPr txBox="1"/>
          <p:nvPr/>
        </p:nvSpPr>
        <p:spPr>
          <a:xfrm>
            <a:off x="6581608" y="1183144"/>
            <a:ext cx="1701801" cy="419100"/>
          </a:xfrm>
          <a:prstGeom prst="rect"/>
          <a:noFill/>
        </p:spPr>
        <p:txBody>
          <a:bodyPr bIns="0" lIns="0" numCol="1" rIns="0" rtlCol="0" tIns="0" wrap="none">
            <a:spAutoFit/>
          </a:bodyPr>
          <a:p>
            <a:r>
              <a:rPr altLang="de-DE" dirty="0" sz="2800" lang="de-DE" spc="300">
                <a:solidFill>
                  <a:srgbClr val="079B84"/>
                </a:solidFill>
                <a:latin typeface="Fredoka One" panose="02000000000000000000" pitchFamily="2" charset="0"/>
              </a:rPr>
              <a:t>SUMMARY</a:t>
            </a:r>
          </a:p>
        </p:txBody>
      </p:sp>
      <p:sp>
        <p:nvSpPr>
          <p:cNvPr id="1050224" name="TextBox 23"/>
          <p:cNvSpPr txBox="1"/>
          <p:nvPr/>
        </p:nvSpPr>
        <p:spPr>
          <a:xfrm>
            <a:off x="587376" y="1916569"/>
            <a:ext cx="4330698" cy="4762500"/>
          </a:xfrm>
          <a:prstGeom prst="rect"/>
          <a:noFill/>
        </p:spPr>
        <p:txBody>
          <a:bodyPr bIns="0" lIns="0" numCol="1" rIns="0" rtlCol="0" tIns="0" wrap="square">
            <a:spAutoFit/>
          </a:bodyPr>
          <a:p>
            <a:pPr indent="-285750" marL="285750">
              <a:lnSpc>
                <a:spcPct val="100000"/>
              </a:lnSpc>
              <a:buSzPts val="3700"/>
              <a:buFont typeface="Wingdings" panose="05000000000000000000" pitchFamily="2" charset="2"/>
              <a:buChar char="ü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From the data visualization, it is obtained that the churn ratio has a correlation with tenure, complaints, cashback Amount, &amp; preferred order cat.</a:t>
            </a:r>
          </a:p>
          <a:p>
            <a:pPr indent="-285750" marL="285750">
              <a:lnSpc>
                <a:spcPct val="100000"/>
              </a:lnSpc>
              <a:buSzPts val="3700"/>
              <a:buFont typeface="Wingdings" panose="05000000000000000000" pitchFamily="2" charset="2"/>
              <a:buChar char="ü"/>
            </a:pPr>
            <a:endParaRPr dirty="0" sz="1800" lang="en-US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results of predicting churn are strongly influenced by the level of Tenure, Complaint, Number of Addresses, and cashback Amount.</a:t>
            </a: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endParaRPr dirty="0" sz="1800" lang="en-ID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buSzPts val="3700"/>
              <a:buFont typeface="Wingdings" panose="05000000000000000000" pitchFamily="2" charset="2"/>
              <a:buChar char="ü"/>
            </a:pPr>
            <a:r>
              <a:rPr dirty="0" sz="1800" lang="en-US">
                <a:solidFill>
                  <a:schemeClr val="bg1">
                    <a:lumMod val="9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results of the Survival Analysis, the customer has the greatest survival chance in No Complain, Marital Status Married, Payment Mode Credit Card, Order Category Grocery.</a:t>
            </a:r>
            <a:endParaRPr dirty="0" sz="1800" lang="en-ID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50225" name="TextBox 24"/>
          <p:cNvSpPr txBox="1"/>
          <p:nvPr/>
        </p:nvSpPr>
        <p:spPr>
          <a:xfrm>
            <a:off x="6581608" y="1916569"/>
            <a:ext cx="4992329" cy="2717800"/>
          </a:xfrm>
          <a:prstGeom prst="rect"/>
          <a:noFill/>
        </p:spPr>
        <p:txBody>
          <a:bodyPr bIns="0" lIns="0" numCol="1" rIns="0" rtlCol="0" tIns="0" wrap="square">
            <a:spAutoFit/>
          </a:bodyPr>
          <a:p>
            <a:pPr indent="-285750" marL="285750">
              <a:lnSpc>
                <a:spcPct val="100000"/>
              </a:lnSpc>
              <a:spcBef>
                <a:spcPts val="0"/>
              </a:spcBef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RFM Segmentation results show priority customer treatment in the Loyal, New, Promising, and Lost Potential segments.</a:t>
            </a:r>
            <a:r>
              <a:rPr dirty="0" sz="1600" lang="en-ID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endParaRPr dirty="0" sz="1600" lang="en-ID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lnSpc>
                <a:spcPct val="100000"/>
              </a:lnSpc>
              <a:spcBef>
                <a:spcPts val="0"/>
              </a:spcBef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Total Expected Loss of $ 910,687</a:t>
            </a:r>
          </a:p>
          <a:p>
            <a:pPr>
              <a:lnSpc>
                <a:spcPct val="100000"/>
              </a:lnSpc>
              <a:spcBef>
                <a:spcPts val="0"/>
              </a:spcBef>
              <a:buSzPts val="3700"/>
            </a:pPr>
            <a:endParaRPr dirty="0" sz="1600" lang="en-US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indent="-285750" marL="285750">
              <a:lnSpc>
                <a:spcPct val="100000"/>
              </a:lnSpc>
              <a:spcBef>
                <a:spcPts val="0"/>
              </a:spcBef>
              <a:buSzPts val="3700"/>
              <a:buFont typeface="Wingdings" panose="05000000000000000000" pitchFamily="2" charset="2"/>
              <a:buChar char="ü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Estimated Revenue Uplift</a:t>
            </a:r>
          </a:p>
          <a:p>
            <a:pPr indent="-285750" marL="731837">
              <a:lnSpc>
                <a:spcPct val="100000"/>
              </a:lnSpc>
              <a:spcBef>
                <a:spcPts val="0"/>
              </a:spcBef>
              <a:buSzPts val="3700"/>
              <a:buFont typeface="Arial" panose="020B0604020202020204" pitchFamily="34" charset="0"/>
              <a:buChar char="•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Order category Grocery $42,448</a:t>
            </a:r>
          </a:p>
          <a:p>
            <a:pPr indent="-285750" marL="731837">
              <a:lnSpc>
                <a:spcPct val="100000"/>
              </a:lnSpc>
              <a:spcBef>
                <a:spcPts val="0"/>
              </a:spcBef>
              <a:buSzPts val="3700"/>
              <a:buFont typeface="Arial" panose="020B0604020202020204" pitchFamily="34" charset="0"/>
              <a:buChar char="•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Payment Credit Card $ 91,785 </a:t>
            </a:r>
          </a:p>
          <a:p>
            <a:pPr indent="-285750" marL="731837">
              <a:lnSpc>
                <a:spcPct val="100000"/>
              </a:lnSpc>
              <a:spcBef>
                <a:spcPts val="0"/>
              </a:spcBef>
              <a:buSzPts val="3700"/>
              <a:buFont typeface="Arial" panose="020B0604020202020204" pitchFamily="34" charset="0"/>
              <a:buChar char="•"/>
            </a:pPr>
            <a:r>
              <a:rPr dirty="0" sz="1600" lang="en-US">
                <a:latin typeface="Roboto" panose="02000000000000000000" pitchFamily="2" charset="0"/>
                <a:ea typeface="Roboto" panose="02000000000000000000" pitchFamily="2" charset="0"/>
              </a:rPr>
              <a:t>Payment Debit Card $ 78,543</a:t>
            </a:r>
          </a:p>
        </p:txBody>
      </p:sp>
      <p:sp>
        <p:nvSpPr>
          <p:cNvPr id="1050226" name="Oval 30"/>
          <p:cNvSpPr/>
          <p:nvPr/>
        </p:nvSpPr>
        <p:spPr>
          <a:xfrm>
            <a:off x="5269139" y="917517"/>
            <a:ext cx="901757" cy="901757"/>
          </a:xfrm>
          <a:prstGeom prst="ellipse"/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numCol="1" rtlCol="0"/>
          <a:p>
            <a:pPr algn="ctr"/>
            <a:endParaRPr altLang="de-DE" lang="de-DE"/>
          </a:p>
        </p:txBody>
      </p:sp>
      <p:grpSp>
        <p:nvGrpSpPr>
          <p:cNvPr id="481" name="Google Shape;2393;g191abe3b490_12_4289"/>
          <p:cNvGrpSpPr/>
          <p:nvPr/>
        </p:nvGrpSpPr>
        <p:grpSpPr>
          <a:xfrm>
            <a:off x="5512261" y="1162318"/>
            <a:ext cx="393638" cy="393720"/>
            <a:chOff x="5049725" y="2027900"/>
            <a:chExt cx="481750" cy="481850"/>
          </a:xfrm>
        </p:grpSpPr>
        <p:sp>
          <p:nvSpPr>
            <p:cNvPr id="1050227" name="Google Shape;2394;g191abe3b490_12_4289"/>
            <p:cNvSpPr/>
            <p:nvPr/>
          </p:nvSpPr>
          <p:spPr>
            <a:xfrm>
              <a:off x="5191775" y="2394925"/>
              <a:ext cx="197625" cy="114825"/>
            </a:xfrm>
            <a:custGeom>
              <a:avLst/>
              <a:ah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28" name="Google Shape;2395;g191abe3b490_12_4289"/>
            <p:cNvSpPr/>
            <p:nvPr/>
          </p:nvSpPr>
          <p:spPr>
            <a:xfrm>
              <a:off x="5113625" y="2027900"/>
              <a:ext cx="347300" cy="338825"/>
            </a:xfrm>
            <a:custGeom>
              <a:avLst/>
              <a:ah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29" name="Google Shape;2396;g191abe3b490_12_4289"/>
            <p:cNvSpPr/>
            <p:nvPr/>
          </p:nvSpPr>
          <p:spPr>
            <a:xfrm>
              <a:off x="5049725" y="2197300"/>
              <a:ext cx="56400" cy="28275"/>
            </a:xfrm>
            <a:custGeom>
              <a:avLst/>
              <a:ah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0" name="Google Shape;2397;g191abe3b490_12_4289"/>
            <p:cNvSpPr/>
            <p:nvPr/>
          </p:nvSpPr>
          <p:spPr>
            <a:xfrm>
              <a:off x="5052575" y="2102800"/>
              <a:ext cx="50850" cy="48075"/>
            </a:xfrm>
            <a:custGeom>
              <a:avLst/>
              <a:ah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1" name="Google Shape;2398;g191abe3b490_12_4289"/>
            <p:cNvSpPr/>
            <p:nvPr/>
          </p:nvSpPr>
          <p:spPr>
            <a:xfrm>
              <a:off x="5052575" y="2272175"/>
              <a:ext cx="50700" cy="47900"/>
            </a:xfrm>
            <a:custGeom>
              <a:avLst/>
              <a:ah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2" name="Google Shape;2399;g191abe3b490_12_4289"/>
            <p:cNvSpPr/>
            <p:nvPr/>
          </p:nvSpPr>
          <p:spPr>
            <a:xfrm>
              <a:off x="5475050" y="2197300"/>
              <a:ext cx="56425" cy="28275"/>
            </a:xfrm>
            <a:custGeom>
              <a:avLst/>
              <a:ah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3" name="Google Shape;2400;g191abe3b490_12_4289"/>
            <p:cNvSpPr/>
            <p:nvPr/>
          </p:nvSpPr>
          <p:spPr>
            <a:xfrm>
              <a:off x="5477925" y="2102800"/>
              <a:ext cx="50675" cy="47900"/>
            </a:xfrm>
            <a:custGeom>
              <a:avLst/>
              <a:ah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4" name="Google Shape;2401;g191abe3b490_12_4289"/>
            <p:cNvSpPr/>
            <p:nvPr/>
          </p:nvSpPr>
          <p:spPr>
            <a:xfrm>
              <a:off x="5477775" y="2272000"/>
              <a:ext cx="50825" cy="48075"/>
            </a:xfrm>
            <a:custGeom>
              <a:avLst/>
              <a:ah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dirty="0" i="0" strike="noStrike" u="none">
                <a:solidFill>
                  <a:srgbClr val="435D74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82" name="Google Shape;660;g191abe3b490_12_4745"/>
          <p:cNvGrpSpPr/>
          <p:nvPr/>
        </p:nvGrpSpPr>
        <p:grpSpPr>
          <a:xfrm flipH="1">
            <a:off x="942563" y="5609888"/>
            <a:ext cx="735967" cy="1220783"/>
            <a:chOff x="731955" y="3388996"/>
            <a:chExt cx="355077" cy="588982"/>
          </a:xfrm>
        </p:grpSpPr>
        <p:sp>
          <p:nvSpPr>
            <p:cNvPr id="1050235" name="Google Shape;661;g191abe3b490_12_4745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6" name="Google Shape;662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7" name="Google Shape;663;g191abe3b490_12_4745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8" name="Google Shape;664;g191abe3b490_12_4745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39" name="Google Shape;665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0" name="Google Shape;666;g191abe3b490_12_4745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1" name="Google Shape;667;g191abe3b490_12_4745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2" name="Google Shape;668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3" name="Google Shape;669;g191abe3b490_12_4745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4" name="Google Shape;670;g191abe3b490_12_4745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5" name="Google Shape;671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6" name="Google Shape;672;g191abe3b490_12_4745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247" name="Google Shape;673;g191abe3b490_12_4745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custDataLst>
      <p:tags r:id="rId4"/>
    </p:custDataLst>
  </p:cSld>
  <p:clrMapOvr>
    <a:masterClrMapping/>
  </p:clrMapOvr>
  <p:transition spd="slow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85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51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 smtClean="0"/>
              <a:t>54</a:t>
            </a:fld>
            <a:endParaRPr lang="en-ID"/>
          </a:p>
        </p:txBody>
      </p:sp>
      <p:sp>
        <p:nvSpPr>
          <p:cNvPr id="1050252" name="Google Shape;2646;g19b4d37e0d4_0_44"/>
          <p:cNvSpPr txBox="1"/>
          <p:nvPr/>
        </p:nvSpPr>
        <p:spPr>
          <a:xfrm>
            <a:off x="0" y="380187"/>
            <a:ext cx="12192000" cy="73560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121900" lIns="121900" rIns="121900" spcFirstLastPara="1" tIns="121900" wrap="square">
            <a:noAutofit/>
          </a:bodyPr>
          <a:p>
            <a:pPr algn="ct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Font typeface="Fredoka One"/>
              <a:buNone/>
            </a:pPr>
            <a:r>
              <a:rPr dirty="0"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Business Analytics Dashboard </a:t>
            </a:r>
            <a:endParaRPr dirty="0"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pic>
        <p:nvPicPr>
          <p:cNvPr id="2097250" name="Picture 4"/>
          <p:cNvPicPr>
            <a:picLocks noChangeAspect="1"/>
          </p:cNvPicPr>
          <p:nvPr/>
        </p:nvPicPr>
        <p:blipFill>
          <a:blip xmlns:r="http://schemas.openxmlformats.org/officeDocument/2006/relationships" r:embed="rId1"/>
          <a:stretch>
            <a:fillRect/>
          </a:stretch>
        </p:blipFill>
        <p:spPr>
          <a:xfrm>
            <a:off x="1286656" y="1115787"/>
            <a:ext cx="9618688" cy="4960522"/>
          </a:xfrm>
          <a:prstGeom prst="rect"/>
        </p:spPr>
      </p:pic>
      <p:sp>
        <p:nvSpPr>
          <p:cNvPr id="1050253" name="TextBox 5"/>
          <p:cNvSpPr txBox="1"/>
          <p:nvPr/>
        </p:nvSpPr>
        <p:spPr>
          <a:xfrm>
            <a:off x="1981200" y="6003420"/>
            <a:ext cx="8229600" cy="523220"/>
          </a:xfrm>
          <a:prstGeom prst="rect"/>
          <a:noFill/>
        </p:spPr>
        <p:txBody>
          <a:bodyPr rtlCol="0" wrap="square">
            <a:spAutoFit/>
          </a:bodyPr>
          <a:p>
            <a:pPr algn="ctr"/>
            <a:r>
              <a:rPr dirty="0" lang="en-US">
                <a:solidFill>
                  <a:schemeClr val="tx1"/>
                </a:solidFill>
                <a:highlight>
                  <a:srgbClr val="00FF00"/>
                </a:highlight>
              </a:rPr>
              <a:t>Link : https://app.powerbi.com/groups/06be1cdf-3422-46e2-b0c1-6605fed8dfe5/reports/dcf2e131-7f8b-4661-b764-d7891b4840cb/ReportSectionc04ef661493e23894037</a:t>
            </a:r>
            <a:endParaRPr dirty="0" lang="en-ID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87" name="Shape 2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255" name="Google Shape;2733;g199c61c64ac_6_898"/>
          <p:cNvSpPr txBox="1"/>
          <p:nvPr/>
        </p:nvSpPr>
        <p:spPr>
          <a:xfrm>
            <a:off x="-396239" y="603576"/>
            <a:ext cx="12588300" cy="708000"/>
          </a:xfrm>
          <a:prstGeom prst="rect"/>
          <a:solidFill>
            <a:srgbClr val="E5EBED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Fredoka One"/>
              <a:buNone/>
            </a:pPr>
            <a:r>
              <a:rPr sz="40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Bibliography</a:t>
            </a:r>
            <a:endParaRPr sz="4000">
              <a:solidFill>
                <a:schemeClr val="dk1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50256" name="Google Shape;2734;g199c61c64ac_6_898"/>
          <p:cNvSpPr txBox="1"/>
          <p:nvPr/>
        </p:nvSpPr>
        <p:spPr>
          <a:xfrm>
            <a:off x="702489" y="1703683"/>
            <a:ext cx="10787146" cy="40030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-304800" lvl="0" marL="304800" marR="0" rtl="0">
              <a:spcBef>
                <a:spcPts val="6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Agrawal, A., Gans, J., &amp; Goldfarb, A. (2018)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Prediction machines: the simple economics of artificial intelligence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. Harvard Business Press.</a:t>
            </a:r>
          </a:p>
          <a:p>
            <a:pPr algn="l" indent="-304800" lvl="0" marL="30480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Al-Sahaf, H., Bi, Y., Chen, Q., Lensen, A., Mei, Y., Sun, Y., Tran, B., Xue, B., &amp; Zhang, M. (2019). A survey on evolutionary machine learning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Journal of the Royal Society of New Zealand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49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(2), 205–228. https://doi.org/10.1080/03036758.2019.1609052</a:t>
            </a:r>
          </a:p>
          <a:p>
            <a:pPr algn="l" indent="-304800" lvl="0" marL="30480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Apte, C. (2010). Invited Applications Paper: The Role of Machine Learning in Business Optimization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Proceedings of the 27th International Conference on Machine Learning, Haifa, Israel, 2010.</a:t>
            </a:r>
            <a:endParaRPr sz="1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algn="l" indent="-304800" lvl="0" marL="30480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Brynjolfsson, E., &amp; McAfee, A. (2014)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he second machine age: Work, progress, and prosperity in a time of brilliant technologies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. WW Norton &amp; Company.</a:t>
            </a:r>
          </a:p>
          <a:p>
            <a:pPr algn="l" indent="-304800" lvl="0" marL="30480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Masarifoglu, M., &amp; Buyuklu, A. H. (2019)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Applying Survival Analysis to Telecom Churn Data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(pp. 261–275). American Journal of Theoretical and Applied Statistics.</a:t>
            </a:r>
          </a:p>
          <a:p>
            <a:pPr algn="l" indent="-304800" lvl="0" marL="30480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Pinem, R. J., Afrizal, T., &amp; Saputra, J. (2020). The Relationship of Cashback, Discount, and Voucher toward Decision to Use Digital Payment in Indonesia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alent Development &amp; Excellent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2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(3s), 2766–2774.</a:t>
            </a:r>
          </a:p>
          <a:p>
            <a:pPr algn="l" indent="0" lvl="0" marL="0" marR="0" rtl="0">
              <a:spcBef>
                <a:spcPts val="1200"/>
              </a:spcBef>
              <a:spcAft>
                <a:spcPts val="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Wu, X., &amp; Meng, S. (2016). E-commerce Customer Churn Prediction Based on. </a:t>
            </a:r>
            <a:r>
              <a:rPr sz="1400" i="1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2016 13th International Conference on Service Systems and Service Management (ICSSSM)</a:t>
            </a: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1–5.</a:t>
            </a:r>
          </a:p>
          <a:p>
            <a:pPr algn="l" indent="0" lvl="0" marL="0" marR="0" rtl="0">
              <a:spcBef>
                <a:spcPts val="1200"/>
              </a:spcBef>
              <a:spcAft>
                <a:spcPts val="600"/>
              </a:spcAft>
              <a:buNone/>
            </a:pPr>
            <a:r>
              <a:rPr sz="1400" lang="en-ID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https://www.kaggle.com/ankitverma2010/ecommerce-customer-churn-analysis-and-prediction</a:t>
            </a:r>
            <a:endParaRPr sz="1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xmlns:r="http://schemas.openxmlformats.org/officeDocument/2006/relationships" r:embed="rId1">
            <a:alphaModFix/>
          </a:blip>
          <a:stretch>
            <a:fillRect/>
          </a:stretch>
        </a:blipFill>
      </p:bgPr>
    </p:bg>
    <p:spTree>
      <p:nvGrpSpPr>
        <p:cNvPr id="491" name="Shape 273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70" name="Shape 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0" name="Google Shape;810;g19347faee97_5_278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1004349" y="1680667"/>
            <a:ext cx="3648842" cy="3496666"/>
          </a:xfrm>
          <a:prstGeom prst="rect"/>
          <a:noFill/>
          <a:ln>
            <a:noFill/>
          </a:ln>
          <a:effectLst>
            <a:outerShdw algn="tl" blurRad="292100" dir="2700000" dist="139700" rotWithShape="0">
              <a:srgbClr val="333333">
                <a:alpha val="64705"/>
              </a:srgbClr>
            </a:outerShdw>
          </a:effectLst>
        </p:spPr>
      </p:pic>
      <p:sp>
        <p:nvSpPr>
          <p:cNvPr id="1048691" name="Google Shape;811;g19347faee97_5_278"/>
          <p:cNvSpPr/>
          <p:nvPr/>
        </p:nvSpPr>
        <p:spPr>
          <a:xfrm>
            <a:off x="5393227" y="2166484"/>
            <a:ext cx="5524168" cy="2598057"/>
          </a:xfrm>
          <a:prstGeom prst="rect"/>
          <a:solidFill>
            <a:srgbClr val="394A89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92" name="Google Shape;812;g19347faee97_5_278"/>
          <p:cNvSpPr/>
          <p:nvPr/>
        </p:nvSpPr>
        <p:spPr>
          <a:xfrm>
            <a:off x="5500914" y="1412341"/>
            <a:ext cx="6691086" cy="4033318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693" name="Google Shape;813;g19347faee97_5_278"/>
          <p:cNvSpPr txBox="1"/>
          <p:nvPr/>
        </p:nvSpPr>
        <p:spPr>
          <a:xfrm>
            <a:off x="5847376" y="2096250"/>
            <a:ext cx="6415800" cy="16002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6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r Amilah| nuramilahnuramilah@gmail.com</a:t>
            </a:r>
          </a:p>
        </p:txBody>
      </p:sp>
      <p:sp>
        <p:nvSpPr>
          <p:cNvPr id="1048694" name="Google Shape;814;g19347faee97_5_278"/>
          <p:cNvSpPr txBox="1"/>
          <p:nvPr/>
        </p:nvSpPr>
        <p:spPr>
          <a:xfrm>
            <a:off x="5847372" y="3616178"/>
            <a:ext cx="5723400" cy="1333501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TTL 		: Tangerang, 16 May 2001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No. Hp 		: 08159887509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Address 		: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Kp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Pagedangan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Kab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. Tangerang,</a:t>
            </a:r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		 Banten.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ocial Media    	: @nuramilah_16</a:t>
            </a:r>
            <a:endParaRPr dirty="0"/>
          </a:p>
        </p:txBody>
      </p:sp>
      <p:grpSp>
        <p:nvGrpSpPr>
          <p:cNvPr id="171" name="Google Shape;815;g19347faee97_5_278"/>
          <p:cNvGrpSpPr/>
          <p:nvPr/>
        </p:nvGrpSpPr>
        <p:grpSpPr>
          <a:xfrm>
            <a:off x="481266" y="4276236"/>
            <a:ext cx="1169763" cy="2723341"/>
            <a:chOff x="731955" y="2811840"/>
            <a:chExt cx="564367" cy="1313910"/>
          </a:xfrm>
        </p:grpSpPr>
        <p:sp>
          <p:nvSpPr>
            <p:cNvPr id="1048695" name="Google Shape;816;g19347faee97_5_278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96" name="Google Shape;817;g19347faee97_5_278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97" name="Google Shape;818;g19347faee97_5_278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98" name="Google Shape;819;g19347faee97_5_278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699" name="Google Shape;820;g19347faee97_5_278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0" name="Google Shape;821;g19347faee97_5_278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1" name="Google Shape;822;g19347faee97_5_278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2" name="Google Shape;823;g19347faee97_5_278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3" name="Google Shape;824;g19347faee97_5_278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4" name="Google Shape;825;g19347faee97_5_278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5" name="Google Shape;826;g19347faee97_5_278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6" name="Google Shape;827;g19347faee97_5_278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7" name="Google Shape;828;g19347faee97_5_278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8" name="Google Shape;829;g19347faee97_5_278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09" name="Google Shape;830;g19347faee97_5_278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0" name="Google Shape;831;g19347faee97_5_278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1" name="Google Shape;832;g19347faee97_5_278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2" name="Google Shape;833;g19347faee97_5_278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3" name="Google Shape;834;g19347faee97_5_278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4" name="Google Shape;835;g19347faee97_5_278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5" name="Google Shape;836;g19347faee97_5_278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6" name="Google Shape;837;g19347faee97_5_278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7" name="Google Shape;838;g19347faee97_5_278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8" name="Google Shape;839;g19347faee97_5_278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19" name="Google Shape;840;g19347faee97_5_278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20" name="Google Shape;841;g19347faee97_5_278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21" name="Google Shape;842;g19347faee97_5_278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22" name="Google Shape;843;g19347faee97_5_278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23" name="Google Shape;844;g19347faee97_5_278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24" name="Google Shape;845;g19347faee97_5_278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2" name="Google Shape;846;g19347faee97_5_278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725" name="Google Shape;847;g19347faee97_5_278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26" name="Google Shape;848;g19347faee97_5_278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27" name="Google Shape;849;g19347faee97_5_278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28" name="Google Shape;850;g19347faee97_5_278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id="7"/>
                                        <p:tgtEl>
                                          <p:spTgt spid="10486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2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900" id="10"/>
                                        <p:tgtEl>
                                          <p:spTgt spid="2097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700" id="13"/>
                                        <p:tgtEl>
                                          <p:spTgt spid="10486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16"/>
                                        <p:tgtEl>
                                          <p:spTgt spid="10486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75" name="Shape 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1" name="Google Shape;855;g19a6bfd5701_2_152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1170119" y="1803050"/>
            <a:ext cx="3493497" cy="3422267"/>
          </a:xfrm>
          <a:prstGeom prst="rect"/>
          <a:noFill/>
          <a:ln>
            <a:noFill/>
          </a:ln>
          <a:effectLst>
            <a:outerShdw algn="tl" blurRad="292100" dir="2700000" dist="139700" rotWithShape="0">
              <a:srgbClr val="333333">
                <a:alpha val="64705"/>
              </a:srgbClr>
            </a:outerShdw>
          </a:effectLst>
        </p:spPr>
      </p:pic>
      <p:sp>
        <p:nvSpPr>
          <p:cNvPr id="1048731" name="Google Shape;856;g19a6bfd5701_2_152"/>
          <p:cNvSpPr/>
          <p:nvPr/>
        </p:nvSpPr>
        <p:spPr>
          <a:xfrm>
            <a:off x="5393227" y="2166484"/>
            <a:ext cx="5524168" cy="2598057"/>
          </a:xfrm>
          <a:prstGeom prst="rect"/>
          <a:solidFill>
            <a:srgbClr val="394A89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732" name="Google Shape;857;g19a6bfd5701_2_152"/>
          <p:cNvSpPr/>
          <p:nvPr/>
        </p:nvSpPr>
        <p:spPr>
          <a:xfrm>
            <a:off x="5500914" y="1412341"/>
            <a:ext cx="6691086" cy="4033318"/>
          </a:xfrm>
          <a:prstGeom prst="rect"/>
          <a:solidFill>
            <a:srgbClr val="E6EEF0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733" name="Google Shape;858;g19a6bfd5701_2_152"/>
          <p:cNvSpPr txBox="1"/>
          <p:nvPr/>
        </p:nvSpPr>
        <p:spPr>
          <a:xfrm>
            <a:off x="5847372" y="2324859"/>
            <a:ext cx="5420703" cy="1066800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600" lang="en-ID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talia Dinda Sartika Putri | nata.dsptr@gmail.com</a:t>
            </a:r>
          </a:p>
        </p:txBody>
      </p:sp>
      <p:sp>
        <p:nvSpPr>
          <p:cNvPr id="1048734" name="Google Shape;859;g19a6bfd5701_2_152"/>
          <p:cNvSpPr txBox="1"/>
          <p:nvPr/>
        </p:nvSpPr>
        <p:spPr>
          <a:xfrm>
            <a:off x="5847373" y="3616178"/>
            <a:ext cx="6166800" cy="1333501"/>
          </a:xfrm>
          <a:prstGeom prst="rect"/>
          <a:noFill/>
          <a:ln>
            <a:noFill/>
          </a:ln>
        </p:spPr>
        <p:txBody>
          <a:bodyPr anchor="t" anchorCtr="0" bIns="0" lIns="0" rIns="0" spcFirstLastPara="1" tIns="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TTL 		: Tangerang, 09 June 2000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No. Hp 		: 085771768020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Address 		: Jl. Raya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Mauk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 No.45, </a:t>
            </a:r>
            <a:r>
              <a:rPr dirty="0" sz="1800" lang="en-ID" err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Jatiwaringin</a:t>
            </a: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, Tangerang 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		Regency, Banten.</a:t>
            </a:r>
            <a:endParaRPr dirty="0"/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Social Media 	: @nata.dsptr_</a:t>
            </a:r>
            <a:endParaRPr dirty="0"/>
          </a:p>
        </p:txBody>
      </p:sp>
      <p:grpSp>
        <p:nvGrpSpPr>
          <p:cNvPr id="176" name="Google Shape;860;g19a6bfd5701_2_152"/>
          <p:cNvGrpSpPr/>
          <p:nvPr/>
        </p:nvGrpSpPr>
        <p:grpSpPr>
          <a:xfrm>
            <a:off x="481266" y="4276236"/>
            <a:ext cx="1169763" cy="2723341"/>
            <a:chOff x="731955" y="2811840"/>
            <a:chExt cx="564367" cy="1313910"/>
          </a:xfrm>
        </p:grpSpPr>
        <p:sp>
          <p:nvSpPr>
            <p:cNvPr id="1048735" name="Google Shape;861;g19a6bfd5701_2_152"/>
            <p:cNvSpPr/>
            <p:nvPr/>
          </p:nvSpPr>
          <p:spPr>
            <a:xfrm>
              <a:off x="1038864" y="2811840"/>
              <a:ext cx="165191" cy="1313910"/>
            </a:xfrm>
            <a:custGeom>
              <a:avLst/>
              <a:ahLst/>
              <a:rect l="l" t="t" r="r" b="b"/>
              <a:pathLst>
                <a:path w="8241" h="65548" extrusionOk="0">
                  <a:moveTo>
                    <a:pt x="7006" y="1"/>
                  </a:moveTo>
                  <a:cubicBezTo>
                    <a:pt x="7006" y="33"/>
                    <a:pt x="7036" y="95"/>
                    <a:pt x="7068" y="158"/>
                  </a:cubicBezTo>
                  <a:lnTo>
                    <a:pt x="7068" y="158"/>
                  </a:lnTo>
                  <a:cubicBezTo>
                    <a:pt x="7047" y="106"/>
                    <a:pt x="7027" y="53"/>
                    <a:pt x="7006" y="1"/>
                  </a:cubicBezTo>
                  <a:close/>
                  <a:moveTo>
                    <a:pt x="7068" y="158"/>
                  </a:moveTo>
                  <a:cubicBezTo>
                    <a:pt x="7071" y="167"/>
                    <a:pt x="7075" y="176"/>
                    <a:pt x="7078" y="184"/>
                  </a:cubicBezTo>
                  <a:lnTo>
                    <a:pt x="7078" y="184"/>
                  </a:lnTo>
                  <a:cubicBezTo>
                    <a:pt x="7076" y="179"/>
                    <a:pt x="7074" y="173"/>
                    <a:pt x="7073" y="168"/>
                  </a:cubicBezTo>
                  <a:cubicBezTo>
                    <a:pt x="7071" y="165"/>
                    <a:pt x="7069" y="161"/>
                    <a:pt x="7068" y="158"/>
                  </a:cubicBezTo>
                  <a:close/>
                  <a:moveTo>
                    <a:pt x="7078" y="184"/>
                  </a:moveTo>
                  <a:cubicBezTo>
                    <a:pt x="7110" y="286"/>
                    <a:pt x="7143" y="447"/>
                    <a:pt x="7206" y="668"/>
                  </a:cubicBezTo>
                  <a:cubicBezTo>
                    <a:pt x="7406" y="1302"/>
                    <a:pt x="7573" y="1936"/>
                    <a:pt x="7673" y="2603"/>
                  </a:cubicBezTo>
                  <a:cubicBezTo>
                    <a:pt x="8107" y="5004"/>
                    <a:pt x="8040" y="7440"/>
                    <a:pt x="7506" y="9841"/>
                  </a:cubicBezTo>
                  <a:cubicBezTo>
                    <a:pt x="7106" y="11476"/>
                    <a:pt x="6472" y="13044"/>
                    <a:pt x="5605" y="14478"/>
                  </a:cubicBezTo>
                  <a:cubicBezTo>
                    <a:pt x="4704" y="16046"/>
                    <a:pt x="3470" y="17580"/>
                    <a:pt x="2503" y="19381"/>
                  </a:cubicBezTo>
                  <a:cubicBezTo>
                    <a:pt x="1435" y="21283"/>
                    <a:pt x="968" y="23484"/>
                    <a:pt x="1235" y="25653"/>
                  </a:cubicBezTo>
                  <a:cubicBezTo>
                    <a:pt x="1469" y="27888"/>
                    <a:pt x="2236" y="30089"/>
                    <a:pt x="2970" y="32324"/>
                  </a:cubicBezTo>
                  <a:cubicBezTo>
                    <a:pt x="3703" y="34526"/>
                    <a:pt x="4371" y="36794"/>
                    <a:pt x="4437" y="38995"/>
                  </a:cubicBezTo>
                  <a:cubicBezTo>
                    <a:pt x="4471" y="41130"/>
                    <a:pt x="4204" y="43232"/>
                    <a:pt x="3603" y="45300"/>
                  </a:cubicBezTo>
                  <a:cubicBezTo>
                    <a:pt x="3070" y="47268"/>
                    <a:pt x="2436" y="49103"/>
                    <a:pt x="1869" y="50837"/>
                  </a:cubicBezTo>
                  <a:cubicBezTo>
                    <a:pt x="1302" y="52438"/>
                    <a:pt x="868" y="54073"/>
                    <a:pt x="535" y="55741"/>
                  </a:cubicBezTo>
                  <a:cubicBezTo>
                    <a:pt x="1" y="58143"/>
                    <a:pt x="1" y="60611"/>
                    <a:pt x="535" y="63013"/>
                  </a:cubicBezTo>
                  <a:cubicBezTo>
                    <a:pt x="701" y="63680"/>
                    <a:pt x="935" y="64280"/>
                    <a:pt x="1235" y="64914"/>
                  </a:cubicBezTo>
                  <a:cubicBezTo>
                    <a:pt x="1335" y="65081"/>
                    <a:pt x="1402" y="65248"/>
                    <a:pt x="1469" y="65348"/>
                  </a:cubicBezTo>
                  <a:cubicBezTo>
                    <a:pt x="1502" y="65414"/>
                    <a:pt x="1535" y="65481"/>
                    <a:pt x="1569" y="65548"/>
                  </a:cubicBezTo>
                  <a:cubicBezTo>
                    <a:pt x="1535" y="65481"/>
                    <a:pt x="1502" y="65414"/>
                    <a:pt x="1502" y="65381"/>
                  </a:cubicBezTo>
                  <a:cubicBezTo>
                    <a:pt x="1435" y="65248"/>
                    <a:pt x="1368" y="65114"/>
                    <a:pt x="1268" y="64914"/>
                  </a:cubicBezTo>
                  <a:cubicBezTo>
                    <a:pt x="1002" y="64280"/>
                    <a:pt x="768" y="63680"/>
                    <a:pt x="635" y="63013"/>
                  </a:cubicBezTo>
                  <a:cubicBezTo>
                    <a:pt x="101" y="60644"/>
                    <a:pt x="134" y="58176"/>
                    <a:pt x="701" y="55774"/>
                  </a:cubicBezTo>
                  <a:cubicBezTo>
                    <a:pt x="1035" y="54140"/>
                    <a:pt x="1469" y="52505"/>
                    <a:pt x="2036" y="50904"/>
                  </a:cubicBezTo>
                  <a:cubicBezTo>
                    <a:pt x="2603" y="49203"/>
                    <a:pt x="3270" y="47368"/>
                    <a:pt x="3804" y="45367"/>
                  </a:cubicBezTo>
                  <a:cubicBezTo>
                    <a:pt x="4404" y="43299"/>
                    <a:pt x="4704" y="41164"/>
                    <a:pt x="4671" y="38995"/>
                  </a:cubicBezTo>
                  <a:cubicBezTo>
                    <a:pt x="4604" y="36761"/>
                    <a:pt x="3937" y="34492"/>
                    <a:pt x="3203" y="32257"/>
                  </a:cubicBezTo>
                  <a:cubicBezTo>
                    <a:pt x="2469" y="30022"/>
                    <a:pt x="1702" y="27821"/>
                    <a:pt x="1469" y="25619"/>
                  </a:cubicBezTo>
                  <a:cubicBezTo>
                    <a:pt x="1235" y="23518"/>
                    <a:pt x="1635" y="21350"/>
                    <a:pt x="2703" y="19482"/>
                  </a:cubicBezTo>
                  <a:cubicBezTo>
                    <a:pt x="3670" y="17714"/>
                    <a:pt x="4871" y="16146"/>
                    <a:pt x="5805" y="14578"/>
                  </a:cubicBezTo>
                  <a:cubicBezTo>
                    <a:pt x="6639" y="13110"/>
                    <a:pt x="7273" y="11542"/>
                    <a:pt x="7673" y="9875"/>
                  </a:cubicBezTo>
                  <a:cubicBezTo>
                    <a:pt x="8207" y="7473"/>
                    <a:pt x="8240" y="4971"/>
                    <a:pt x="7773" y="2569"/>
                  </a:cubicBezTo>
                  <a:cubicBezTo>
                    <a:pt x="7618" y="1765"/>
                    <a:pt x="7378" y="962"/>
                    <a:pt x="7078" y="1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36" name="Google Shape;862;g19a6bfd5701_2_152"/>
            <p:cNvSpPr/>
            <p:nvPr/>
          </p:nvSpPr>
          <p:spPr>
            <a:xfrm>
              <a:off x="1085669" y="2945500"/>
              <a:ext cx="81603" cy="189987"/>
            </a:xfrm>
            <a:custGeom>
              <a:avLst/>
              <a:ahLst/>
              <a:rect l="l" t="t" r="r" b="b"/>
              <a:pathLst>
                <a:path w="4071" h="9478" extrusionOk="0">
                  <a:moveTo>
                    <a:pt x="589" y="0"/>
                  </a:moveTo>
                  <a:cubicBezTo>
                    <a:pt x="495" y="0"/>
                    <a:pt x="401" y="66"/>
                    <a:pt x="401" y="171"/>
                  </a:cubicBezTo>
                  <a:cubicBezTo>
                    <a:pt x="201" y="1138"/>
                    <a:pt x="1" y="4174"/>
                    <a:pt x="2202" y="9478"/>
                  </a:cubicBezTo>
                  <a:cubicBezTo>
                    <a:pt x="2202" y="9478"/>
                    <a:pt x="4070" y="3540"/>
                    <a:pt x="735" y="71"/>
                  </a:cubicBezTo>
                  <a:cubicBezTo>
                    <a:pt x="698" y="22"/>
                    <a:pt x="643" y="0"/>
                    <a:pt x="589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37" name="Google Shape;863;g19a6bfd5701_2_152"/>
            <p:cNvSpPr/>
            <p:nvPr/>
          </p:nvSpPr>
          <p:spPr>
            <a:xfrm>
              <a:off x="1107738" y="2986372"/>
              <a:ext cx="24094" cy="149115"/>
            </a:xfrm>
            <a:custGeom>
              <a:avLst/>
              <a:ahLst/>
              <a:rect l="l" t="t" r="r" b="b"/>
              <a:pathLst>
                <a:path w="1202" h="7439" extrusionOk="0">
                  <a:moveTo>
                    <a:pt x="1" y="0"/>
                  </a:moveTo>
                  <a:cubicBezTo>
                    <a:pt x="1" y="367"/>
                    <a:pt x="34" y="734"/>
                    <a:pt x="134" y="1101"/>
                  </a:cubicBezTo>
                  <a:cubicBezTo>
                    <a:pt x="234" y="1868"/>
                    <a:pt x="401" y="2735"/>
                    <a:pt x="534" y="3736"/>
                  </a:cubicBezTo>
                  <a:cubicBezTo>
                    <a:pt x="701" y="4703"/>
                    <a:pt x="835" y="5604"/>
                    <a:pt x="968" y="6338"/>
                  </a:cubicBezTo>
                  <a:cubicBezTo>
                    <a:pt x="1001" y="6705"/>
                    <a:pt x="1068" y="7072"/>
                    <a:pt x="1168" y="7439"/>
                  </a:cubicBezTo>
                  <a:cubicBezTo>
                    <a:pt x="1201" y="7072"/>
                    <a:pt x="1168" y="6672"/>
                    <a:pt x="1135" y="6338"/>
                  </a:cubicBezTo>
                  <a:cubicBezTo>
                    <a:pt x="1068" y="5637"/>
                    <a:pt x="935" y="4703"/>
                    <a:pt x="768" y="3703"/>
                  </a:cubicBezTo>
                  <a:cubicBezTo>
                    <a:pt x="601" y="2669"/>
                    <a:pt x="434" y="1735"/>
                    <a:pt x="267" y="1068"/>
                  </a:cubicBezTo>
                  <a:cubicBezTo>
                    <a:pt x="234" y="701"/>
                    <a:pt x="134" y="367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38" name="Google Shape;864;g19a6bfd5701_2_152"/>
            <p:cNvSpPr/>
            <p:nvPr/>
          </p:nvSpPr>
          <p:spPr>
            <a:xfrm>
              <a:off x="965519" y="3262873"/>
              <a:ext cx="120851" cy="153444"/>
            </a:xfrm>
            <a:custGeom>
              <a:avLst/>
              <a:ahLst/>
              <a:rect l="l" t="t" r="r" b="b"/>
              <a:pathLst>
                <a:path w="6029" h="7655" extrusionOk="0">
                  <a:moveTo>
                    <a:pt x="247" y="1"/>
                  </a:moveTo>
                  <a:cubicBezTo>
                    <a:pt x="111" y="1"/>
                    <a:pt x="1" y="142"/>
                    <a:pt x="57" y="283"/>
                  </a:cubicBezTo>
                  <a:cubicBezTo>
                    <a:pt x="357" y="1217"/>
                    <a:pt x="1558" y="3986"/>
                    <a:pt x="6028" y="7655"/>
                  </a:cubicBezTo>
                  <a:cubicBezTo>
                    <a:pt x="6028" y="7655"/>
                    <a:pt x="4894" y="1550"/>
                    <a:pt x="324" y="16"/>
                  </a:cubicBezTo>
                  <a:cubicBezTo>
                    <a:pt x="298" y="6"/>
                    <a:pt x="272" y="1"/>
                    <a:pt x="24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39" name="Google Shape;865;g19a6bfd5701_2_152"/>
            <p:cNvSpPr/>
            <p:nvPr/>
          </p:nvSpPr>
          <p:spPr>
            <a:xfrm>
              <a:off x="996749" y="3295285"/>
              <a:ext cx="90283" cy="119709"/>
            </a:xfrm>
            <a:custGeom>
              <a:avLst/>
              <a:ahLst/>
              <a:rect l="l" t="t" r="r" b="b"/>
              <a:pathLst>
                <a:path w="4504" h="5972" extrusionOk="0">
                  <a:moveTo>
                    <a:pt x="0" y="0"/>
                  </a:moveTo>
                  <a:lnTo>
                    <a:pt x="0" y="0"/>
                  </a:lnTo>
                  <a:cubicBezTo>
                    <a:pt x="200" y="300"/>
                    <a:pt x="401" y="601"/>
                    <a:pt x="634" y="901"/>
                  </a:cubicBezTo>
                  <a:lnTo>
                    <a:pt x="2235" y="3002"/>
                  </a:lnTo>
                  <a:lnTo>
                    <a:pt x="3836" y="5137"/>
                  </a:lnTo>
                  <a:cubicBezTo>
                    <a:pt x="4037" y="5437"/>
                    <a:pt x="4237" y="5704"/>
                    <a:pt x="4504" y="5971"/>
                  </a:cubicBezTo>
                  <a:cubicBezTo>
                    <a:pt x="4370" y="5638"/>
                    <a:pt x="4170" y="5337"/>
                    <a:pt x="3970" y="5037"/>
                  </a:cubicBezTo>
                  <a:cubicBezTo>
                    <a:pt x="3603" y="4470"/>
                    <a:pt x="3036" y="3669"/>
                    <a:pt x="2402" y="2869"/>
                  </a:cubicBezTo>
                  <a:cubicBezTo>
                    <a:pt x="1802" y="2035"/>
                    <a:pt x="1201" y="1301"/>
                    <a:pt x="734" y="767"/>
                  </a:cubicBezTo>
                  <a:cubicBezTo>
                    <a:pt x="534" y="501"/>
                    <a:pt x="267" y="23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0" name="Google Shape;866;g19a6bfd5701_2_152"/>
            <p:cNvSpPr/>
            <p:nvPr/>
          </p:nvSpPr>
          <p:spPr>
            <a:xfrm>
              <a:off x="1039545" y="3543222"/>
              <a:ext cx="85592" cy="180686"/>
            </a:xfrm>
            <a:custGeom>
              <a:avLst/>
              <a:ahLst/>
              <a:rect l="l" t="t" r="r" b="b"/>
              <a:pathLst>
                <a:path w="4270" h="9014" extrusionOk="0">
                  <a:moveTo>
                    <a:pt x="214" y="0"/>
                  </a:moveTo>
                  <a:cubicBezTo>
                    <a:pt x="105" y="0"/>
                    <a:pt x="0" y="86"/>
                    <a:pt x="0" y="207"/>
                  </a:cubicBezTo>
                  <a:cubicBezTo>
                    <a:pt x="0" y="1208"/>
                    <a:pt x="367" y="4176"/>
                    <a:pt x="3569" y="9013"/>
                  </a:cubicBezTo>
                  <a:cubicBezTo>
                    <a:pt x="3569" y="9013"/>
                    <a:pt x="4270" y="2842"/>
                    <a:pt x="334" y="40"/>
                  </a:cubicBezTo>
                  <a:cubicBezTo>
                    <a:pt x="297" y="12"/>
                    <a:pt x="255" y="0"/>
                    <a:pt x="214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1" name="Google Shape;867;g19a6bfd5701_2_152"/>
            <p:cNvSpPr/>
            <p:nvPr/>
          </p:nvSpPr>
          <p:spPr>
            <a:xfrm>
              <a:off x="1060933" y="3582129"/>
              <a:ext cx="51516" cy="141778"/>
            </a:xfrm>
            <a:custGeom>
              <a:avLst/>
              <a:ahLst/>
              <a:rect l="l" t="t" r="r" b="b"/>
              <a:pathLst>
                <a:path w="2570" h="7073" extrusionOk="0">
                  <a:moveTo>
                    <a:pt x="1" y="0"/>
                  </a:moveTo>
                  <a:lnTo>
                    <a:pt x="1" y="0"/>
                  </a:lnTo>
                  <a:cubicBezTo>
                    <a:pt x="67" y="334"/>
                    <a:pt x="201" y="701"/>
                    <a:pt x="334" y="1034"/>
                  </a:cubicBezTo>
                  <a:cubicBezTo>
                    <a:pt x="601" y="1768"/>
                    <a:pt x="901" y="2602"/>
                    <a:pt x="1268" y="3536"/>
                  </a:cubicBezTo>
                  <a:lnTo>
                    <a:pt x="2169" y="6038"/>
                  </a:lnTo>
                  <a:cubicBezTo>
                    <a:pt x="2269" y="6405"/>
                    <a:pt x="2402" y="6739"/>
                    <a:pt x="2569" y="7072"/>
                  </a:cubicBezTo>
                  <a:cubicBezTo>
                    <a:pt x="2536" y="6705"/>
                    <a:pt x="2469" y="6338"/>
                    <a:pt x="2336" y="5971"/>
                  </a:cubicBezTo>
                  <a:cubicBezTo>
                    <a:pt x="2135" y="5338"/>
                    <a:pt x="1835" y="4437"/>
                    <a:pt x="1502" y="3470"/>
                  </a:cubicBezTo>
                  <a:cubicBezTo>
                    <a:pt x="1168" y="2536"/>
                    <a:pt x="801" y="1635"/>
                    <a:pt x="534" y="1001"/>
                  </a:cubicBezTo>
                  <a:cubicBezTo>
                    <a:pt x="401" y="634"/>
                    <a:pt x="201" y="30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2" name="Google Shape;868;g19a6bfd5701_2_152"/>
            <p:cNvSpPr/>
            <p:nvPr/>
          </p:nvSpPr>
          <p:spPr>
            <a:xfrm>
              <a:off x="963975" y="3855463"/>
              <a:ext cx="87617" cy="178020"/>
            </a:xfrm>
            <a:custGeom>
              <a:avLst/>
              <a:ahLst/>
              <a:rect l="l" t="t" r="r" b="b"/>
              <a:pathLst>
                <a:path w="4371" h="8881" extrusionOk="0">
                  <a:moveTo>
                    <a:pt x="215" y="1"/>
                  </a:moveTo>
                  <a:cubicBezTo>
                    <a:pt x="106" y="1"/>
                    <a:pt x="1" y="87"/>
                    <a:pt x="1" y="208"/>
                  </a:cubicBezTo>
                  <a:cubicBezTo>
                    <a:pt x="68" y="1208"/>
                    <a:pt x="535" y="4177"/>
                    <a:pt x="3904" y="8881"/>
                  </a:cubicBezTo>
                  <a:cubicBezTo>
                    <a:pt x="3904" y="8881"/>
                    <a:pt x="4371" y="2676"/>
                    <a:pt x="334" y="41"/>
                  </a:cubicBezTo>
                  <a:cubicBezTo>
                    <a:pt x="298" y="13"/>
                    <a:pt x="256" y="1"/>
                    <a:pt x="21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3" name="Google Shape;869;g19a6bfd5701_2_152"/>
            <p:cNvSpPr/>
            <p:nvPr/>
          </p:nvSpPr>
          <p:spPr>
            <a:xfrm>
              <a:off x="986706" y="3893047"/>
              <a:ext cx="56186" cy="139774"/>
            </a:xfrm>
            <a:custGeom>
              <a:avLst/>
              <a:ahLst/>
              <a:rect l="l" t="t" r="r" b="b"/>
              <a:pathLst>
                <a:path w="2803" h="6973" extrusionOk="0">
                  <a:moveTo>
                    <a:pt x="1" y="1"/>
                  </a:moveTo>
                  <a:lnTo>
                    <a:pt x="1" y="1"/>
                  </a:lnTo>
                  <a:cubicBezTo>
                    <a:pt x="101" y="367"/>
                    <a:pt x="201" y="701"/>
                    <a:pt x="368" y="1035"/>
                  </a:cubicBezTo>
                  <a:cubicBezTo>
                    <a:pt x="668" y="1735"/>
                    <a:pt x="1002" y="2569"/>
                    <a:pt x="1369" y="3503"/>
                  </a:cubicBezTo>
                  <a:lnTo>
                    <a:pt x="2369" y="5938"/>
                  </a:lnTo>
                  <a:cubicBezTo>
                    <a:pt x="2469" y="6305"/>
                    <a:pt x="2603" y="6639"/>
                    <a:pt x="2803" y="6972"/>
                  </a:cubicBezTo>
                  <a:cubicBezTo>
                    <a:pt x="2736" y="6605"/>
                    <a:pt x="2636" y="6238"/>
                    <a:pt x="2503" y="5905"/>
                  </a:cubicBezTo>
                  <a:cubicBezTo>
                    <a:pt x="2303" y="5238"/>
                    <a:pt x="1969" y="4370"/>
                    <a:pt x="1569" y="3403"/>
                  </a:cubicBezTo>
                  <a:cubicBezTo>
                    <a:pt x="1168" y="2436"/>
                    <a:pt x="802" y="1568"/>
                    <a:pt x="501" y="968"/>
                  </a:cubicBezTo>
                  <a:cubicBezTo>
                    <a:pt x="368" y="634"/>
                    <a:pt x="201" y="301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4" name="Google Shape;870;g19a6bfd5701_2_152"/>
            <p:cNvSpPr/>
            <p:nvPr/>
          </p:nvSpPr>
          <p:spPr>
            <a:xfrm>
              <a:off x="1183288" y="2872556"/>
              <a:ext cx="113034" cy="158636"/>
            </a:xfrm>
            <a:custGeom>
              <a:avLst/>
              <a:ahLst/>
              <a:rect l="l" t="t" r="r" b="b"/>
              <a:pathLst>
                <a:path w="5639" h="7914" extrusionOk="0">
                  <a:moveTo>
                    <a:pt x="5425" y="1"/>
                  </a:moveTo>
                  <a:cubicBezTo>
                    <a:pt x="5383" y="1"/>
                    <a:pt x="5341" y="13"/>
                    <a:pt x="5305" y="41"/>
                  </a:cubicBezTo>
                  <a:cubicBezTo>
                    <a:pt x="4504" y="608"/>
                    <a:pt x="2236" y="2543"/>
                    <a:pt x="1" y="7913"/>
                  </a:cubicBezTo>
                  <a:cubicBezTo>
                    <a:pt x="1" y="7913"/>
                    <a:pt x="5538" y="5044"/>
                    <a:pt x="5638" y="208"/>
                  </a:cubicBezTo>
                  <a:cubicBezTo>
                    <a:pt x="5638" y="87"/>
                    <a:pt x="5533" y="1"/>
                    <a:pt x="5425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5" name="Google Shape;871;g19a6bfd5701_2_152"/>
            <p:cNvSpPr/>
            <p:nvPr/>
          </p:nvSpPr>
          <p:spPr>
            <a:xfrm>
              <a:off x="1183969" y="2910141"/>
              <a:ext cx="89621" cy="121052"/>
            </a:xfrm>
            <a:custGeom>
              <a:avLst/>
              <a:ahLst/>
              <a:rect l="l" t="t" r="r" b="b"/>
              <a:pathLst>
                <a:path w="4471" h="6039" extrusionOk="0">
                  <a:moveTo>
                    <a:pt x="4470" y="0"/>
                  </a:moveTo>
                  <a:lnTo>
                    <a:pt x="4470" y="0"/>
                  </a:lnTo>
                  <a:cubicBezTo>
                    <a:pt x="4203" y="267"/>
                    <a:pt x="3970" y="534"/>
                    <a:pt x="3770" y="868"/>
                  </a:cubicBezTo>
                  <a:lnTo>
                    <a:pt x="2202" y="3003"/>
                  </a:lnTo>
                  <a:lnTo>
                    <a:pt x="634" y="5137"/>
                  </a:lnTo>
                  <a:cubicBezTo>
                    <a:pt x="401" y="5438"/>
                    <a:pt x="200" y="5738"/>
                    <a:pt x="0" y="6038"/>
                  </a:cubicBezTo>
                  <a:cubicBezTo>
                    <a:pt x="301" y="5805"/>
                    <a:pt x="534" y="5538"/>
                    <a:pt x="768" y="5237"/>
                  </a:cubicBezTo>
                  <a:cubicBezTo>
                    <a:pt x="1201" y="4737"/>
                    <a:pt x="1768" y="4003"/>
                    <a:pt x="2402" y="3136"/>
                  </a:cubicBezTo>
                  <a:cubicBezTo>
                    <a:pt x="3002" y="2269"/>
                    <a:pt x="3536" y="1535"/>
                    <a:pt x="3903" y="934"/>
                  </a:cubicBezTo>
                  <a:cubicBezTo>
                    <a:pt x="4103" y="668"/>
                    <a:pt x="4303" y="334"/>
                    <a:pt x="447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6" name="Google Shape;872;g19a6bfd5701_2_152"/>
            <p:cNvSpPr/>
            <p:nvPr/>
          </p:nvSpPr>
          <p:spPr>
            <a:xfrm>
              <a:off x="1064942" y="3135046"/>
              <a:ext cx="122234" cy="151560"/>
            </a:xfrm>
            <a:custGeom>
              <a:avLst/>
              <a:ahLst/>
              <a:rect l="l" t="t" r="r" b="b"/>
              <a:pathLst>
                <a:path w="6098" h="7561" extrusionOk="0">
                  <a:moveTo>
                    <a:pt x="5863" y="1"/>
                  </a:moveTo>
                  <a:cubicBezTo>
                    <a:pt x="5832" y="1"/>
                    <a:pt x="5800" y="8"/>
                    <a:pt x="5772" y="22"/>
                  </a:cubicBezTo>
                  <a:cubicBezTo>
                    <a:pt x="4904" y="555"/>
                    <a:pt x="2536" y="2357"/>
                    <a:pt x="1" y="7561"/>
                  </a:cubicBezTo>
                  <a:cubicBezTo>
                    <a:pt x="1" y="7561"/>
                    <a:pt x="5671" y="5025"/>
                    <a:pt x="6072" y="222"/>
                  </a:cubicBezTo>
                  <a:cubicBezTo>
                    <a:pt x="6098" y="91"/>
                    <a:pt x="5980" y="1"/>
                    <a:pt x="586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7" name="Google Shape;873;g19a6bfd5701_2_152"/>
            <p:cNvSpPr/>
            <p:nvPr/>
          </p:nvSpPr>
          <p:spPr>
            <a:xfrm>
              <a:off x="1066285" y="3170906"/>
              <a:ext cx="95635" cy="116361"/>
            </a:xfrm>
            <a:custGeom>
              <a:avLst/>
              <a:ahLst/>
              <a:rect l="l" t="t" r="r" b="b"/>
              <a:pathLst>
                <a:path w="4771" h="5805" extrusionOk="0">
                  <a:moveTo>
                    <a:pt x="4771" y="1"/>
                  </a:moveTo>
                  <a:lnTo>
                    <a:pt x="4771" y="1"/>
                  </a:lnTo>
                  <a:cubicBezTo>
                    <a:pt x="4504" y="268"/>
                    <a:pt x="4237" y="534"/>
                    <a:pt x="4037" y="835"/>
                  </a:cubicBezTo>
                  <a:lnTo>
                    <a:pt x="2369" y="2903"/>
                  </a:lnTo>
                  <a:lnTo>
                    <a:pt x="668" y="4938"/>
                  </a:lnTo>
                  <a:cubicBezTo>
                    <a:pt x="401" y="5204"/>
                    <a:pt x="201" y="5505"/>
                    <a:pt x="0" y="5805"/>
                  </a:cubicBezTo>
                  <a:cubicBezTo>
                    <a:pt x="267" y="5571"/>
                    <a:pt x="568" y="5338"/>
                    <a:pt x="801" y="5038"/>
                  </a:cubicBezTo>
                  <a:cubicBezTo>
                    <a:pt x="1268" y="4537"/>
                    <a:pt x="1868" y="3837"/>
                    <a:pt x="2536" y="3036"/>
                  </a:cubicBezTo>
                  <a:cubicBezTo>
                    <a:pt x="3203" y="2236"/>
                    <a:pt x="3803" y="1502"/>
                    <a:pt x="4170" y="935"/>
                  </a:cubicBezTo>
                  <a:cubicBezTo>
                    <a:pt x="4404" y="668"/>
                    <a:pt x="4604" y="334"/>
                    <a:pt x="477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8" name="Google Shape;874;g19a6bfd5701_2_152"/>
            <p:cNvSpPr/>
            <p:nvPr/>
          </p:nvSpPr>
          <p:spPr>
            <a:xfrm>
              <a:off x="1127803" y="3383183"/>
              <a:ext cx="80922" cy="188944"/>
            </a:xfrm>
            <a:custGeom>
              <a:avLst/>
              <a:ahLst/>
              <a:rect l="l" t="t" r="r" b="b"/>
              <a:pathLst>
                <a:path w="4037" h="9426" extrusionOk="0">
                  <a:moveTo>
                    <a:pt x="2005" y="0"/>
                  </a:moveTo>
                  <a:cubicBezTo>
                    <a:pt x="1942" y="0"/>
                    <a:pt x="1879" y="27"/>
                    <a:pt x="1835" y="85"/>
                  </a:cubicBezTo>
                  <a:cubicBezTo>
                    <a:pt x="1301" y="919"/>
                    <a:pt x="0" y="3621"/>
                    <a:pt x="134" y="9425"/>
                  </a:cubicBezTo>
                  <a:cubicBezTo>
                    <a:pt x="134" y="9425"/>
                    <a:pt x="4037" y="4588"/>
                    <a:pt x="2202" y="118"/>
                  </a:cubicBezTo>
                  <a:cubicBezTo>
                    <a:pt x="2164" y="43"/>
                    <a:pt x="2085" y="0"/>
                    <a:pt x="2005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49" name="Google Shape;875;g19a6bfd5701_2_152"/>
            <p:cNvSpPr/>
            <p:nvPr/>
          </p:nvSpPr>
          <p:spPr>
            <a:xfrm>
              <a:off x="1131151" y="3424997"/>
              <a:ext cx="32774" cy="146449"/>
            </a:xfrm>
            <a:custGeom>
              <a:avLst/>
              <a:ahLst/>
              <a:rect l="l" t="t" r="r" b="b"/>
              <a:pathLst>
                <a:path w="1635" h="7306" extrusionOk="0">
                  <a:moveTo>
                    <a:pt x="1635" y="0"/>
                  </a:moveTo>
                  <a:lnTo>
                    <a:pt x="1635" y="0"/>
                  </a:lnTo>
                  <a:cubicBezTo>
                    <a:pt x="1501" y="334"/>
                    <a:pt x="1401" y="701"/>
                    <a:pt x="1368" y="1068"/>
                  </a:cubicBezTo>
                  <a:cubicBezTo>
                    <a:pt x="1201" y="1802"/>
                    <a:pt x="1001" y="2669"/>
                    <a:pt x="801" y="3636"/>
                  </a:cubicBezTo>
                  <a:lnTo>
                    <a:pt x="234" y="6238"/>
                  </a:lnTo>
                  <a:cubicBezTo>
                    <a:pt x="134" y="6605"/>
                    <a:pt x="67" y="6939"/>
                    <a:pt x="0" y="7306"/>
                  </a:cubicBezTo>
                  <a:cubicBezTo>
                    <a:pt x="167" y="7005"/>
                    <a:pt x="300" y="6639"/>
                    <a:pt x="400" y="6272"/>
                  </a:cubicBezTo>
                  <a:cubicBezTo>
                    <a:pt x="567" y="5638"/>
                    <a:pt x="801" y="4704"/>
                    <a:pt x="1034" y="3703"/>
                  </a:cubicBezTo>
                  <a:cubicBezTo>
                    <a:pt x="1234" y="2702"/>
                    <a:pt x="1401" y="1768"/>
                    <a:pt x="1535" y="1101"/>
                  </a:cubicBezTo>
                  <a:cubicBezTo>
                    <a:pt x="1601" y="734"/>
                    <a:pt x="1635" y="367"/>
                    <a:pt x="163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0" name="Google Shape;876;g19a6bfd5701_2_152"/>
            <p:cNvSpPr/>
            <p:nvPr/>
          </p:nvSpPr>
          <p:spPr>
            <a:xfrm>
              <a:off x="1052915" y="3753554"/>
              <a:ext cx="119027" cy="153545"/>
            </a:xfrm>
            <a:custGeom>
              <a:avLst/>
              <a:ahLst/>
              <a:rect l="l" t="t" r="r" b="b"/>
              <a:pathLst>
                <a:path w="5938" h="7660" extrusionOk="0">
                  <a:moveTo>
                    <a:pt x="5726" y="0"/>
                  </a:moveTo>
                  <a:cubicBezTo>
                    <a:pt x="5696" y="0"/>
                    <a:pt x="5666" y="7"/>
                    <a:pt x="5638" y="21"/>
                  </a:cubicBezTo>
                  <a:cubicBezTo>
                    <a:pt x="4804" y="555"/>
                    <a:pt x="2435" y="2423"/>
                    <a:pt x="0" y="7660"/>
                  </a:cubicBezTo>
                  <a:cubicBezTo>
                    <a:pt x="0" y="7660"/>
                    <a:pt x="5604" y="5025"/>
                    <a:pt x="5938" y="221"/>
                  </a:cubicBezTo>
                  <a:cubicBezTo>
                    <a:pt x="5938" y="90"/>
                    <a:pt x="5835" y="0"/>
                    <a:pt x="5726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1" name="Google Shape;877;g19a6bfd5701_2_152"/>
            <p:cNvSpPr/>
            <p:nvPr/>
          </p:nvSpPr>
          <p:spPr>
            <a:xfrm>
              <a:off x="1052915" y="3790076"/>
              <a:ext cx="94973" cy="118366"/>
            </a:xfrm>
            <a:custGeom>
              <a:avLst/>
              <a:ahLst/>
              <a:rect l="l" t="t" r="r" b="b"/>
              <a:pathLst>
                <a:path w="4738" h="5905" extrusionOk="0">
                  <a:moveTo>
                    <a:pt x="4737" y="0"/>
                  </a:moveTo>
                  <a:lnTo>
                    <a:pt x="4737" y="0"/>
                  </a:lnTo>
                  <a:cubicBezTo>
                    <a:pt x="4470" y="267"/>
                    <a:pt x="4237" y="534"/>
                    <a:pt x="4003" y="834"/>
                  </a:cubicBezTo>
                  <a:lnTo>
                    <a:pt x="2335" y="2936"/>
                  </a:lnTo>
                  <a:lnTo>
                    <a:pt x="667" y="5004"/>
                  </a:lnTo>
                  <a:cubicBezTo>
                    <a:pt x="434" y="5271"/>
                    <a:pt x="200" y="5571"/>
                    <a:pt x="0" y="5905"/>
                  </a:cubicBezTo>
                  <a:cubicBezTo>
                    <a:pt x="301" y="5671"/>
                    <a:pt x="567" y="5404"/>
                    <a:pt x="801" y="5104"/>
                  </a:cubicBezTo>
                  <a:cubicBezTo>
                    <a:pt x="1268" y="4604"/>
                    <a:pt x="1868" y="3903"/>
                    <a:pt x="2502" y="3069"/>
                  </a:cubicBezTo>
                  <a:cubicBezTo>
                    <a:pt x="3169" y="2269"/>
                    <a:pt x="3703" y="1502"/>
                    <a:pt x="4103" y="968"/>
                  </a:cubicBezTo>
                  <a:cubicBezTo>
                    <a:pt x="4337" y="668"/>
                    <a:pt x="4570" y="334"/>
                    <a:pt x="47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2" name="Google Shape;878;g19a6bfd5701_2_152"/>
            <p:cNvSpPr/>
            <p:nvPr/>
          </p:nvSpPr>
          <p:spPr>
            <a:xfrm>
              <a:off x="828251" y="3419645"/>
              <a:ext cx="215323" cy="555667"/>
            </a:xfrm>
            <a:custGeom>
              <a:avLst/>
              <a:ahLst/>
              <a:rect l="l" t="t" r="r" b="b"/>
              <a:pathLst>
                <a:path w="10742" h="27721" extrusionOk="0">
                  <a:moveTo>
                    <a:pt x="0" y="1"/>
                  </a:moveTo>
                  <a:lnTo>
                    <a:pt x="0" y="434"/>
                  </a:lnTo>
                  <a:cubicBezTo>
                    <a:pt x="0" y="801"/>
                    <a:pt x="34" y="1302"/>
                    <a:pt x="67" y="1935"/>
                  </a:cubicBezTo>
                  <a:cubicBezTo>
                    <a:pt x="134" y="3236"/>
                    <a:pt x="234" y="5104"/>
                    <a:pt x="334" y="7306"/>
                  </a:cubicBezTo>
                  <a:cubicBezTo>
                    <a:pt x="768" y="9574"/>
                    <a:pt x="1902" y="12076"/>
                    <a:pt x="3436" y="14478"/>
                  </a:cubicBezTo>
                  <a:cubicBezTo>
                    <a:pt x="4570" y="16279"/>
                    <a:pt x="5738" y="17880"/>
                    <a:pt x="6772" y="19381"/>
                  </a:cubicBezTo>
                  <a:cubicBezTo>
                    <a:pt x="7706" y="20715"/>
                    <a:pt x="8540" y="22083"/>
                    <a:pt x="9274" y="23517"/>
                  </a:cubicBezTo>
                  <a:cubicBezTo>
                    <a:pt x="9741" y="24485"/>
                    <a:pt x="10141" y="25519"/>
                    <a:pt x="10441" y="26553"/>
                  </a:cubicBezTo>
                  <a:cubicBezTo>
                    <a:pt x="10541" y="26920"/>
                    <a:pt x="10608" y="27220"/>
                    <a:pt x="10641" y="27420"/>
                  </a:cubicBezTo>
                  <a:cubicBezTo>
                    <a:pt x="10675" y="27520"/>
                    <a:pt x="10708" y="27620"/>
                    <a:pt x="10741" y="27720"/>
                  </a:cubicBezTo>
                  <a:cubicBezTo>
                    <a:pt x="10741" y="27620"/>
                    <a:pt x="10708" y="27520"/>
                    <a:pt x="10708" y="27420"/>
                  </a:cubicBezTo>
                  <a:cubicBezTo>
                    <a:pt x="10675" y="27220"/>
                    <a:pt x="10608" y="26920"/>
                    <a:pt x="10541" y="26553"/>
                  </a:cubicBezTo>
                  <a:cubicBezTo>
                    <a:pt x="10274" y="25486"/>
                    <a:pt x="9907" y="24451"/>
                    <a:pt x="9407" y="23451"/>
                  </a:cubicBezTo>
                  <a:cubicBezTo>
                    <a:pt x="8707" y="22016"/>
                    <a:pt x="7873" y="20615"/>
                    <a:pt x="6939" y="19281"/>
                  </a:cubicBezTo>
                  <a:cubicBezTo>
                    <a:pt x="5938" y="17747"/>
                    <a:pt x="4770" y="16145"/>
                    <a:pt x="3603" y="14378"/>
                  </a:cubicBezTo>
                  <a:cubicBezTo>
                    <a:pt x="2068" y="11942"/>
                    <a:pt x="934" y="9507"/>
                    <a:pt x="534" y="7272"/>
                  </a:cubicBezTo>
                  <a:cubicBezTo>
                    <a:pt x="367" y="5071"/>
                    <a:pt x="234" y="3203"/>
                    <a:pt x="134" y="1902"/>
                  </a:cubicBezTo>
                  <a:cubicBezTo>
                    <a:pt x="100" y="1268"/>
                    <a:pt x="67" y="768"/>
                    <a:pt x="34" y="401"/>
                  </a:cubicBezTo>
                  <a:cubicBezTo>
                    <a:pt x="34" y="234"/>
                    <a:pt x="0" y="10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3" name="Google Shape;879;g19a6bfd5701_2_152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4" name="Google Shape;880;g19a6bfd5701_2_152"/>
            <p:cNvSpPr/>
            <p:nvPr/>
          </p:nvSpPr>
          <p:spPr>
            <a:xfrm>
              <a:off x="892435" y="3550037"/>
              <a:ext cx="12067" cy="150458"/>
            </a:xfrm>
            <a:custGeom>
              <a:avLst/>
              <a:ahLst/>
              <a:rect l="l" t="t" r="r" b="b"/>
              <a:pathLst>
                <a:path w="602" h="7506" extrusionOk="0">
                  <a:moveTo>
                    <a:pt x="568" y="0"/>
                  </a:moveTo>
                  <a:lnTo>
                    <a:pt x="568" y="0"/>
                  </a:lnTo>
                  <a:cubicBezTo>
                    <a:pt x="468" y="367"/>
                    <a:pt x="401" y="734"/>
                    <a:pt x="368" y="1101"/>
                  </a:cubicBezTo>
                  <a:cubicBezTo>
                    <a:pt x="301" y="1768"/>
                    <a:pt x="201" y="2702"/>
                    <a:pt x="134" y="3736"/>
                  </a:cubicBezTo>
                  <a:cubicBezTo>
                    <a:pt x="67" y="4770"/>
                    <a:pt x="34" y="5704"/>
                    <a:pt x="34" y="6405"/>
                  </a:cubicBezTo>
                  <a:cubicBezTo>
                    <a:pt x="1" y="6772"/>
                    <a:pt x="34" y="7139"/>
                    <a:pt x="101" y="7506"/>
                  </a:cubicBezTo>
                  <a:cubicBezTo>
                    <a:pt x="167" y="7139"/>
                    <a:pt x="201" y="6772"/>
                    <a:pt x="201" y="6405"/>
                  </a:cubicBezTo>
                  <a:cubicBezTo>
                    <a:pt x="234" y="5638"/>
                    <a:pt x="301" y="4737"/>
                    <a:pt x="368" y="3736"/>
                  </a:cubicBezTo>
                  <a:cubicBezTo>
                    <a:pt x="434" y="2769"/>
                    <a:pt x="501" y="1868"/>
                    <a:pt x="534" y="1101"/>
                  </a:cubicBezTo>
                  <a:cubicBezTo>
                    <a:pt x="601" y="734"/>
                    <a:pt x="601" y="367"/>
                    <a:pt x="56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5" name="Google Shape;881;g19a6bfd5701_2_152"/>
            <p:cNvSpPr/>
            <p:nvPr/>
          </p:nvSpPr>
          <p:spPr>
            <a:xfrm>
              <a:off x="847634" y="3508264"/>
              <a:ext cx="82265" cy="192232"/>
            </a:xfrm>
            <a:custGeom>
              <a:avLst/>
              <a:ahLst/>
              <a:rect l="l" t="t" r="r" b="b"/>
              <a:pathLst>
                <a:path w="4104" h="9590" extrusionOk="0">
                  <a:moveTo>
                    <a:pt x="3161" y="0"/>
                  </a:moveTo>
                  <a:cubicBezTo>
                    <a:pt x="3104" y="0"/>
                    <a:pt x="3045" y="27"/>
                    <a:pt x="3003" y="83"/>
                  </a:cubicBezTo>
                  <a:cubicBezTo>
                    <a:pt x="1" y="3852"/>
                    <a:pt x="2369" y="9590"/>
                    <a:pt x="2369" y="9590"/>
                  </a:cubicBezTo>
                  <a:cubicBezTo>
                    <a:pt x="4104" y="4086"/>
                    <a:pt x="3603" y="1117"/>
                    <a:pt x="3336" y="150"/>
                  </a:cubicBezTo>
                  <a:cubicBezTo>
                    <a:pt x="3317" y="52"/>
                    <a:pt x="3241" y="0"/>
                    <a:pt x="31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6" name="Google Shape;882;g19a6bfd5701_2_152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7" name="Google Shape;883;g19a6bfd5701_2_152"/>
            <p:cNvSpPr/>
            <p:nvPr/>
          </p:nvSpPr>
          <p:spPr>
            <a:xfrm>
              <a:off x="1041550" y="3828863"/>
              <a:ext cx="22751" cy="148453"/>
            </a:xfrm>
            <a:custGeom>
              <a:avLst/>
              <a:ahLst/>
              <a:rect l="l" t="t" r="r" b="b"/>
              <a:pathLst>
                <a:path w="1135" h="7406" extrusionOk="0">
                  <a:moveTo>
                    <a:pt x="1134" y="0"/>
                  </a:moveTo>
                  <a:lnTo>
                    <a:pt x="1134" y="0"/>
                  </a:lnTo>
                  <a:cubicBezTo>
                    <a:pt x="1001" y="334"/>
                    <a:pt x="901" y="701"/>
                    <a:pt x="868" y="1068"/>
                  </a:cubicBezTo>
                  <a:cubicBezTo>
                    <a:pt x="701" y="1735"/>
                    <a:pt x="534" y="2669"/>
                    <a:pt x="401" y="3670"/>
                  </a:cubicBezTo>
                  <a:cubicBezTo>
                    <a:pt x="234" y="4704"/>
                    <a:pt x="134" y="5638"/>
                    <a:pt x="67" y="6305"/>
                  </a:cubicBezTo>
                  <a:cubicBezTo>
                    <a:pt x="0" y="6672"/>
                    <a:pt x="0" y="7072"/>
                    <a:pt x="67" y="7406"/>
                  </a:cubicBezTo>
                  <a:cubicBezTo>
                    <a:pt x="167" y="7072"/>
                    <a:pt x="234" y="6705"/>
                    <a:pt x="234" y="6338"/>
                  </a:cubicBezTo>
                  <a:lnTo>
                    <a:pt x="634" y="3703"/>
                  </a:lnTo>
                  <a:cubicBezTo>
                    <a:pt x="801" y="2735"/>
                    <a:pt x="934" y="1835"/>
                    <a:pt x="1068" y="1101"/>
                  </a:cubicBezTo>
                  <a:cubicBezTo>
                    <a:pt x="1134" y="734"/>
                    <a:pt x="1134" y="367"/>
                    <a:pt x="11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8" name="Google Shape;884;g19a6bfd5701_2_152"/>
            <p:cNvSpPr/>
            <p:nvPr/>
          </p:nvSpPr>
          <p:spPr>
            <a:xfrm>
              <a:off x="1004767" y="3787751"/>
              <a:ext cx="82265" cy="190227"/>
            </a:xfrm>
            <a:custGeom>
              <a:avLst/>
              <a:ahLst/>
              <a:rect l="l" t="t" r="r" b="b"/>
              <a:pathLst>
                <a:path w="4104" h="9490" extrusionOk="0">
                  <a:moveTo>
                    <a:pt x="3474" y="1"/>
                  </a:moveTo>
                  <a:cubicBezTo>
                    <a:pt x="3410" y="1"/>
                    <a:pt x="3345" y="27"/>
                    <a:pt x="3303" y="83"/>
                  </a:cubicBezTo>
                  <a:cubicBezTo>
                    <a:pt x="1" y="3586"/>
                    <a:pt x="1935" y="9490"/>
                    <a:pt x="1935" y="9490"/>
                  </a:cubicBezTo>
                  <a:cubicBezTo>
                    <a:pt x="4104" y="4119"/>
                    <a:pt x="3837" y="1151"/>
                    <a:pt x="3670" y="150"/>
                  </a:cubicBezTo>
                  <a:cubicBezTo>
                    <a:pt x="3650" y="53"/>
                    <a:pt x="3563" y="1"/>
                    <a:pt x="347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59" name="Google Shape;885;g19a6bfd5701_2_152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60" name="Google Shape;886;g19a6bfd5701_2_152"/>
            <p:cNvSpPr/>
            <p:nvPr/>
          </p:nvSpPr>
          <p:spPr>
            <a:xfrm>
              <a:off x="731955" y="3388996"/>
              <a:ext cx="102330" cy="171084"/>
            </a:xfrm>
            <a:custGeom>
              <a:avLst/>
              <a:ahLst/>
              <a:rect l="l" t="t" r="r" b="b"/>
              <a:pathLst>
                <a:path w="5105" h="8535" extrusionOk="0">
                  <a:moveTo>
                    <a:pt x="727" y="0"/>
                  </a:moveTo>
                  <a:cubicBezTo>
                    <a:pt x="626" y="0"/>
                    <a:pt x="535" y="82"/>
                    <a:pt x="535" y="195"/>
                  </a:cubicBezTo>
                  <a:cubicBezTo>
                    <a:pt x="1" y="4965"/>
                    <a:pt x="5105" y="8535"/>
                    <a:pt x="5105" y="8535"/>
                  </a:cubicBezTo>
                  <a:cubicBezTo>
                    <a:pt x="3603" y="2931"/>
                    <a:pt x="1602" y="696"/>
                    <a:pt x="868" y="62"/>
                  </a:cubicBezTo>
                  <a:cubicBezTo>
                    <a:pt x="825" y="19"/>
                    <a:pt x="775" y="0"/>
                    <a:pt x="7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61" name="Google Shape;887;g19a6bfd5701_2_152"/>
            <p:cNvSpPr/>
            <p:nvPr/>
          </p:nvSpPr>
          <p:spPr>
            <a:xfrm>
              <a:off x="760719" y="3428344"/>
              <a:ext cx="72222" cy="131736"/>
            </a:xfrm>
            <a:custGeom>
              <a:avLst/>
              <a:ahLst/>
              <a:rect l="l" t="t" r="r" b="b"/>
              <a:pathLst>
                <a:path w="3603" h="6572" extrusionOk="0">
                  <a:moveTo>
                    <a:pt x="0" y="0"/>
                  </a:moveTo>
                  <a:lnTo>
                    <a:pt x="0" y="0"/>
                  </a:lnTo>
                  <a:cubicBezTo>
                    <a:pt x="100" y="334"/>
                    <a:pt x="234" y="701"/>
                    <a:pt x="434" y="1001"/>
                  </a:cubicBezTo>
                  <a:cubicBezTo>
                    <a:pt x="734" y="1635"/>
                    <a:pt x="1134" y="2469"/>
                    <a:pt x="1635" y="3369"/>
                  </a:cubicBezTo>
                  <a:cubicBezTo>
                    <a:pt x="2135" y="4303"/>
                    <a:pt x="2602" y="5104"/>
                    <a:pt x="2969" y="5671"/>
                  </a:cubicBezTo>
                  <a:cubicBezTo>
                    <a:pt x="3136" y="6005"/>
                    <a:pt x="3369" y="6305"/>
                    <a:pt x="3603" y="6572"/>
                  </a:cubicBezTo>
                  <a:cubicBezTo>
                    <a:pt x="3469" y="6238"/>
                    <a:pt x="3303" y="5904"/>
                    <a:pt x="3102" y="5604"/>
                  </a:cubicBezTo>
                  <a:cubicBezTo>
                    <a:pt x="2736" y="4937"/>
                    <a:pt x="2302" y="4137"/>
                    <a:pt x="1868" y="3269"/>
                  </a:cubicBezTo>
                  <a:lnTo>
                    <a:pt x="601" y="934"/>
                  </a:lnTo>
                  <a:cubicBezTo>
                    <a:pt x="434" y="601"/>
                    <a:pt x="234" y="2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62" name="Google Shape;888;g19a6bfd5701_2_152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63" name="Google Shape;889;g19a6bfd5701_2_152"/>
            <p:cNvSpPr/>
            <p:nvPr/>
          </p:nvSpPr>
          <p:spPr>
            <a:xfrm>
              <a:off x="845169" y="3744975"/>
              <a:ext cx="157614" cy="115319"/>
            </a:xfrm>
            <a:custGeom>
              <a:avLst/>
              <a:ahLst/>
              <a:rect l="l" t="t" r="r" b="b"/>
              <a:pathLst>
                <a:path w="7863" h="5753" extrusionOk="0">
                  <a:moveTo>
                    <a:pt x="227" y="0"/>
                  </a:moveTo>
                  <a:cubicBezTo>
                    <a:pt x="111" y="0"/>
                    <a:pt x="1" y="141"/>
                    <a:pt x="57" y="282"/>
                  </a:cubicBezTo>
                  <a:cubicBezTo>
                    <a:pt x="1691" y="4786"/>
                    <a:pt x="7863" y="5753"/>
                    <a:pt x="7863" y="5753"/>
                  </a:cubicBezTo>
                  <a:cubicBezTo>
                    <a:pt x="4026" y="1383"/>
                    <a:pt x="1258" y="282"/>
                    <a:pt x="290" y="16"/>
                  </a:cubicBezTo>
                  <a:cubicBezTo>
                    <a:pt x="270" y="5"/>
                    <a:pt x="248" y="0"/>
                    <a:pt x="22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764" name="Google Shape;890;g19a6bfd5701_2_152"/>
            <p:cNvSpPr/>
            <p:nvPr/>
          </p:nvSpPr>
          <p:spPr>
            <a:xfrm>
              <a:off x="878403" y="3774702"/>
              <a:ext cx="123036" cy="86274"/>
            </a:xfrm>
            <a:custGeom>
              <a:avLst/>
              <a:ahLst/>
              <a:rect l="l" t="t" r="r" b="b"/>
              <a:pathLst>
                <a:path w="6138" h="4304" extrusionOk="0">
                  <a:moveTo>
                    <a:pt x="0" y="0"/>
                  </a:moveTo>
                  <a:lnTo>
                    <a:pt x="0" y="0"/>
                  </a:lnTo>
                  <a:cubicBezTo>
                    <a:pt x="234" y="267"/>
                    <a:pt x="534" y="501"/>
                    <a:pt x="834" y="734"/>
                  </a:cubicBezTo>
                  <a:cubicBezTo>
                    <a:pt x="1368" y="1134"/>
                    <a:pt x="2102" y="1701"/>
                    <a:pt x="2969" y="2302"/>
                  </a:cubicBezTo>
                  <a:cubicBezTo>
                    <a:pt x="3803" y="2936"/>
                    <a:pt x="4570" y="3436"/>
                    <a:pt x="5170" y="3803"/>
                  </a:cubicBezTo>
                  <a:cubicBezTo>
                    <a:pt x="5471" y="4003"/>
                    <a:pt x="5804" y="4170"/>
                    <a:pt x="6138" y="4303"/>
                  </a:cubicBezTo>
                  <a:cubicBezTo>
                    <a:pt x="5871" y="4070"/>
                    <a:pt x="5571" y="3836"/>
                    <a:pt x="5237" y="3670"/>
                  </a:cubicBezTo>
                  <a:cubicBezTo>
                    <a:pt x="4637" y="3203"/>
                    <a:pt x="3903" y="2702"/>
                    <a:pt x="3102" y="2135"/>
                  </a:cubicBezTo>
                  <a:lnTo>
                    <a:pt x="934" y="601"/>
                  </a:lnTo>
                  <a:cubicBezTo>
                    <a:pt x="634" y="367"/>
                    <a:pt x="334" y="16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anchor="ctr" anchorCtr="0" bIns="121900" lIns="121900" rIns="121900" spcFirstLastPara="1" tIns="121900" wrap="square">
              <a:noAutofit/>
            </a:bodyPr>
            <a:p>
              <a:pPr algn="l" indent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b="0" cap="none" sz="19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7" name="Google Shape;891;g19a6bfd5701_2_152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765" name="Google Shape;892;g19a6bfd5701_2_152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66" name="Google Shape;893;g19a6bfd5701_2_152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67" name="Google Shape;894;g19a6bfd5701_2_152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68" name="Google Shape;895;g19a6bfd5701_2_152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000" id="7"/>
                                        <p:tgtEl>
                                          <p:spTgt spid="10487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2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1200" id="10"/>
                                        <p:tgtEl>
                                          <p:spTgt spid="2097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1" nodeType="withEffect" presetClass="entr" presetID="10" presetSubtype="0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dur="1" fill="hold" id="1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700" id="13"/>
                                        <p:tgtEl>
                                          <p:spTgt spid="10487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14" nodeType="withEffect" presetClass="entr" presetID="10" presetSubtype="0">
                                  <p:stCondLst>
                                    <p:cond delay="360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700" id="16"/>
                                        <p:tgtEl>
                                          <p:spTgt spid="10487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18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" name="Google Shape;901;g19dcec343aa_7_74"/>
          <p:cNvGrpSpPr/>
          <p:nvPr/>
        </p:nvGrpSpPr>
        <p:grpSpPr>
          <a:xfrm>
            <a:off x="4268825" y="714598"/>
            <a:ext cx="3654350" cy="717938"/>
            <a:chOff x="4363500" y="195133"/>
            <a:chExt cx="2582988" cy="867782"/>
          </a:xfrm>
        </p:grpSpPr>
        <p:sp>
          <p:nvSpPr>
            <p:cNvPr id="1048772" name="Google Shape;902;g19dcec343aa_7_74"/>
            <p:cNvSpPr txBox="1"/>
            <p:nvPr/>
          </p:nvSpPr>
          <p:spPr>
            <a:xfrm>
              <a:off x="4596388" y="195133"/>
              <a:ext cx="2283922" cy="632424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2800" i="0" lang="en-ID" strike="noStrike" u="none">
                  <a:solidFill>
                    <a:srgbClr val="262626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Digital Economy?</a:t>
              </a:r>
              <a:endParaRPr b="1" sz="2800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73" name="Google Shape;903;g19dcec343aa_7_74"/>
            <p:cNvSpPr txBox="1"/>
            <p:nvPr/>
          </p:nvSpPr>
          <p:spPr>
            <a:xfrm>
              <a:off x="4363500" y="706828"/>
              <a:ext cx="2582988" cy="35608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4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(Brynjolfsson &amp; McAfee, 2014)</a:t>
              </a:r>
              <a:endParaRPr b="0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8774" name="Google Shape;904;g19dcec343aa_7_74"/>
          <p:cNvSpPr txBox="1"/>
          <p:nvPr/>
        </p:nvSpPr>
        <p:spPr>
          <a:xfrm>
            <a:off x="-76199" y="431555"/>
            <a:ext cx="3690256" cy="574001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32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FOREWORD</a:t>
            </a:r>
          </a:p>
        </p:txBody>
      </p:sp>
      <p:grpSp>
        <p:nvGrpSpPr>
          <p:cNvPr id="183" name="Google Shape;905;g19dcec343aa_7_74"/>
          <p:cNvGrpSpPr/>
          <p:nvPr/>
        </p:nvGrpSpPr>
        <p:grpSpPr>
          <a:xfrm>
            <a:off x="738848" y="4957768"/>
            <a:ext cx="2751911" cy="1380677"/>
            <a:chOff x="403914" y="4566425"/>
            <a:chExt cx="2751911" cy="1380677"/>
          </a:xfrm>
        </p:grpSpPr>
        <p:sp>
          <p:nvSpPr>
            <p:cNvPr id="1048775" name="Google Shape;906;g19dcec343aa_7_74"/>
            <p:cNvSpPr txBox="1"/>
            <p:nvPr/>
          </p:nvSpPr>
          <p:spPr>
            <a:xfrm>
              <a:off x="454714" y="4566425"/>
              <a:ext cx="2701111" cy="95410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2800" i="0" lang="en-ID" strike="noStrike" u="none">
                  <a:solidFill>
                    <a:srgbClr val="262626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Customer Churn?</a:t>
              </a:r>
              <a:endParaRPr b="1" sz="2800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76" name="Google Shape;907;g19dcec343aa_7_74"/>
            <p:cNvSpPr txBox="1"/>
            <p:nvPr/>
          </p:nvSpPr>
          <p:spPr>
            <a:xfrm>
              <a:off x="403914" y="5449303"/>
              <a:ext cx="2500677" cy="497799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4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(Masarifoglu &amp; Buyuklu, 2019)</a:t>
              </a:r>
              <a:endParaRPr b="0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4" name="Google Shape;908;g19dcec343aa_7_74"/>
          <p:cNvGrpSpPr/>
          <p:nvPr/>
        </p:nvGrpSpPr>
        <p:grpSpPr>
          <a:xfrm>
            <a:off x="9323749" y="4850979"/>
            <a:ext cx="2563451" cy="1167684"/>
            <a:chOff x="1559676" y="3506127"/>
            <a:chExt cx="1945524" cy="1167684"/>
          </a:xfrm>
        </p:grpSpPr>
        <p:sp>
          <p:nvSpPr>
            <p:cNvPr id="1048777" name="Google Shape;909;g19dcec343aa_7_74"/>
            <p:cNvSpPr txBox="1"/>
            <p:nvPr/>
          </p:nvSpPr>
          <p:spPr>
            <a:xfrm>
              <a:off x="1559676" y="3506127"/>
              <a:ext cx="1945524" cy="95410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2800" i="0" lang="en-ID" strike="noStrike" u="none">
                  <a:solidFill>
                    <a:srgbClr val="262626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Cashback Amount?</a:t>
              </a:r>
              <a:endParaRPr b="1" sz="2000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78" name="Google Shape;910;g19dcec343aa_7_74"/>
            <p:cNvSpPr txBox="1"/>
            <p:nvPr/>
          </p:nvSpPr>
          <p:spPr>
            <a:xfrm>
              <a:off x="1626853" y="4366034"/>
              <a:ext cx="1719009" cy="30777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4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(Pinem et al., 2020)</a:t>
              </a:r>
              <a:endParaRPr b="0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5" name="Google Shape;911;g19dcec343aa_7_74"/>
          <p:cNvGrpSpPr/>
          <p:nvPr/>
        </p:nvGrpSpPr>
        <p:grpSpPr>
          <a:xfrm>
            <a:off x="9277648" y="1955810"/>
            <a:ext cx="2239212" cy="1208850"/>
            <a:chOff x="118632" y="2027247"/>
            <a:chExt cx="2239212" cy="1154041"/>
          </a:xfrm>
        </p:grpSpPr>
        <p:sp>
          <p:nvSpPr>
            <p:cNvPr id="1048779" name="Google Shape;912;g19dcec343aa_7_74"/>
            <p:cNvSpPr txBox="1"/>
            <p:nvPr/>
          </p:nvSpPr>
          <p:spPr>
            <a:xfrm>
              <a:off x="164733" y="2027247"/>
              <a:ext cx="2193111" cy="887452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2800" i="0" lang="en-ID" strike="noStrike" u="none">
                  <a:solidFill>
                    <a:srgbClr val="262626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Machine Learning?</a:t>
              </a:r>
              <a:endParaRPr b="1" sz="2800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80" name="Google Shape;913;g19dcec343aa_7_74"/>
            <p:cNvSpPr txBox="1"/>
            <p:nvPr/>
          </p:nvSpPr>
          <p:spPr>
            <a:xfrm>
              <a:off x="118632" y="2900044"/>
              <a:ext cx="1945524" cy="281244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4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(Al-Sahaf et al., 2019) </a:t>
              </a:r>
              <a:endParaRPr b="0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6" name="Google Shape;914;g19dcec343aa_7_74"/>
          <p:cNvGrpSpPr/>
          <p:nvPr/>
        </p:nvGrpSpPr>
        <p:grpSpPr>
          <a:xfrm>
            <a:off x="738848" y="2002844"/>
            <a:ext cx="2701111" cy="1279999"/>
            <a:chOff x="6737349" y="4565065"/>
            <a:chExt cx="2701111" cy="1279999"/>
          </a:xfrm>
        </p:grpSpPr>
        <p:sp>
          <p:nvSpPr>
            <p:cNvPr id="1048781" name="Google Shape;915;g19dcec343aa_7_74"/>
            <p:cNvSpPr txBox="1"/>
            <p:nvPr/>
          </p:nvSpPr>
          <p:spPr>
            <a:xfrm>
              <a:off x="6737349" y="4565065"/>
              <a:ext cx="2701111" cy="95410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2800" i="0" lang="en-ID" strike="noStrike" u="none">
                  <a:solidFill>
                    <a:srgbClr val="262626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Business Optimization?</a:t>
              </a:r>
              <a:endParaRPr b="1" sz="2800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82" name="Google Shape;916;g19dcec343aa_7_74"/>
            <p:cNvSpPr txBox="1"/>
            <p:nvPr/>
          </p:nvSpPr>
          <p:spPr>
            <a:xfrm>
              <a:off x="6761134" y="5537287"/>
              <a:ext cx="1479957" cy="307777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4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(Apte, 2010)</a:t>
              </a:r>
              <a:endParaRPr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8783" name="Google Shape;917;g19dcec343aa_7_74"/>
          <p:cNvSpPr/>
          <p:nvPr/>
        </p:nvSpPr>
        <p:spPr>
          <a:xfrm>
            <a:off x="3402967" y="2060403"/>
            <a:ext cx="5584744" cy="5140937"/>
          </a:xfrm>
          <a:prstGeom prst="rect"/>
          <a:solidFill>
            <a:schemeClr val="lt1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97162" name="Google Shape;918;g19dcec343aa_7_74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3253796" y="2048763"/>
            <a:ext cx="5798916" cy="3046745"/>
          </a:xfrm>
          <a:prstGeom prst="rect"/>
          <a:noFill/>
          <a:ln>
            <a:noFill/>
          </a:ln>
        </p:spPr>
      </p:pic>
      <p:grpSp>
        <p:nvGrpSpPr>
          <p:cNvPr id="187" name="Google Shape;919;g19dcec343aa_7_74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784" name="Google Shape;920;g19dcec343aa_7_74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85" name="Google Shape;921;g19dcec343aa_7_74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86" name="Google Shape;922;g19dcec343aa_7_74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87" name="Google Shape;923;g19dcec343aa_7_74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withEffect" presetClass="entr" presetID="23" presetSubtype="16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7"/>
                                        <p:tgtEl>
                                          <p:spTgt spid="2097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dur="500" id="8"/>
                                        <p:tgtEl>
                                          <p:spTgt spid="2097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9" nodeType="withEffect" presetClass="entr" presetID="2" presetSubtype="4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1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1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2">
                      <p:stCondLst>
                        <p:cond delay="indefinite"/>
                      </p:stCondLst>
                      <p:childTnLst>
                        <p:par>
                          <p:cTn fill="hold" id="13">
                            <p:stCondLst>
                              <p:cond delay="0"/>
                            </p:stCondLst>
                            <p:childTnLst>
                              <p:par>
                                <p:cTn fill="hold" id="14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6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7">
                      <p:stCondLst>
                        <p:cond delay="indefinite"/>
                      </p:stCondLst>
                      <p:childTnLst>
                        <p:par>
                          <p:cTn fill="hold" id="18">
                            <p:stCondLst>
                              <p:cond delay="0"/>
                            </p:stCondLst>
                            <p:childTnLst>
                              <p:par>
                                <p:cTn fill="hold" id="19" nodeType="clickEffect" presetClass="entr" presetID="2" presetSubtype="2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1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2">
                      <p:stCondLst>
                        <p:cond delay="indefinite"/>
                      </p:stCondLst>
                      <p:childTnLst>
                        <p:par>
                          <p:cTn fill="hold" id="23">
                            <p:stCondLst>
                              <p:cond delay="0"/>
                            </p:stCondLst>
                            <p:childTnLst>
                              <p:par>
                                <p:cTn fill="hold" id="24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6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7">
                      <p:stCondLst>
                        <p:cond delay="indefinite"/>
                      </p:stCondLst>
                      <p:childTnLst>
                        <p:par>
                          <p:cTn fill="hold" id="28">
                            <p:stCondLst>
                              <p:cond delay="0"/>
                            </p:stCondLst>
                            <p:childTnLst>
                              <p:par>
                                <p:cTn fill="hold" id="29" nodeType="clickEffect" presetClass="entr" presetID="2" presetSubtype="2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31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190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3" name="Google Shape;929;g19dcec343aa_7_101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1">
            <a:alphaModFix/>
          </a:blip>
          <a:srcRect/>
          <a:stretch>
            <a:fillRect/>
          </a:stretch>
        </p:blipFill>
        <p:spPr>
          <a:xfrm>
            <a:off x="3619167" y="1335044"/>
            <a:ext cx="1133385" cy="1444557"/>
          </a:xfrm>
          <a:prstGeom prst="rect"/>
          <a:noFill/>
          <a:ln>
            <a:noFill/>
          </a:ln>
        </p:spPr>
      </p:pic>
      <p:sp>
        <p:nvSpPr>
          <p:cNvPr id="1048791" name="Google Shape;930;g19dcec343aa_7_101"/>
          <p:cNvSpPr txBox="1"/>
          <p:nvPr/>
        </p:nvSpPr>
        <p:spPr>
          <a:xfrm>
            <a:off x="4810163" y="1857235"/>
            <a:ext cx="1752569" cy="707886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4000" i="0" lang="en-ID" strike="noStrike" u="none">
                <a:solidFill>
                  <a:srgbClr val="262626"/>
                </a:solidFill>
                <a:latin typeface="Fredoka One"/>
                <a:ea typeface="Fredoka One"/>
                <a:cs typeface="Fredoka One"/>
                <a:sym typeface="Fredoka One"/>
              </a:rPr>
              <a:t>16.8%</a:t>
            </a:r>
            <a:endParaRPr b="0" sz="1800" i="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sp>
        <p:nvSpPr>
          <p:cNvPr id="1048792" name="Google Shape;931;g19dcec343aa_7_101"/>
          <p:cNvSpPr txBox="1"/>
          <p:nvPr/>
        </p:nvSpPr>
        <p:spPr>
          <a:xfrm>
            <a:off x="4485413" y="1561601"/>
            <a:ext cx="960012" cy="802599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2400" i="0" lang="en-ID" strike="noStrike" u="none">
                <a:solidFill>
                  <a:srgbClr val="8BA8DB"/>
                </a:solidFill>
                <a:latin typeface="Calibri"/>
                <a:ea typeface="Calibri"/>
                <a:cs typeface="Calibri"/>
                <a:sym typeface="Calibri"/>
              </a:rPr>
              <a:t>Churn</a:t>
            </a:r>
            <a:endParaRPr b="1" sz="2400">
              <a:solidFill>
                <a:srgbClr val="8BA8DB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793" name="Google Shape;932;g19dcec343aa_7_101"/>
          <p:cNvSpPr/>
          <p:nvPr/>
        </p:nvSpPr>
        <p:spPr>
          <a:xfrm>
            <a:off x="-2140942" y="807557"/>
            <a:ext cx="5584744" cy="1967008"/>
          </a:xfrm>
          <a:prstGeom prst="rect"/>
          <a:solidFill>
            <a:schemeClr val="lt1"/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794" name="Google Shape;933;g19dcec343aa_7_101"/>
          <p:cNvSpPr txBox="1"/>
          <p:nvPr/>
        </p:nvSpPr>
        <p:spPr>
          <a:xfrm>
            <a:off x="-180884" y="356262"/>
            <a:ext cx="5938157" cy="523220"/>
          </a:xfrm>
          <a:prstGeom prst="rect"/>
          <a:solidFill>
            <a:srgbClr val="E7ECEE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2800" lang="en-ID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rPr>
              <a:t>PROBLEM STATEMENT</a:t>
            </a:r>
          </a:p>
        </p:txBody>
      </p:sp>
      <p:grpSp>
        <p:nvGrpSpPr>
          <p:cNvPr id="191" name="Google Shape;934;g19dcec343aa_7_101"/>
          <p:cNvGrpSpPr/>
          <p:nvPr/>
        </p:nvGrpSpPr>
        <p:grpSpPr>
          <a:xfrm>
            <a:off x="5327420" y="3032090"/>
            <a:ext cx="2284614" cy="3126887"/>
            <a:chOff x="2461259" y="2145442"/>
            <a:chExt cx="2727268" cy="3126887"/>
          </a:xfrm>
        </p:grpSpPr>
        <p:sp>
          <p:nvSpPr>
            <p:cNvPr id="1048795" name="Google Shape;935;g19dcec343aa_7_101"/>
            <p:cNvSpPr txBox="1"/>
            <p:nvPr/>
          </p:nvSpPr>
          <p:spPr>
            <a:xfrm>
              <a:off x="2534030" y="2145442"/>
              <a:ext cx="2591235" cy="368488"/>
            </a:xfrm>
            <a:prstGeom prst="rect"/>
            <a:solidFill>
              <a:srgbClr val="E5EBED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800" i="0" lang="en-ID" strike="noStrike" u="none">
                  <a:solidFill>
                    <a:srgbClr val="000000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Goals</a:t>
              </a:r>
              <a:endParaRPr sz="1800">
                <a:solidFill>
                  <a:schemeClr val="dk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96" name="Google Shape;936;g19dcec343aa_7_101"/>
            <p:cNvSpPr txBox="1"/>
            <p:nvPr/>
          </p:nvSpPr>
          <p:spPr>
            <a:xfrm>
              <a:off x="2461259" y="2513930"/>
              <a:ext cx="2727268" cy="2758399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800" i="0" lang="en-ID" strike="noStrike" u="none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Predict customer churn rate and provide recommendations to the business team so the company can implement a customer retention strategy.</a:t>
              </a:r>
              <a:endParaRPr sz="18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</p:grpSp>
      <p:sp>
        <p:nvSpPr>
          <p:cNvPr id="1048797" name="Google Shape;937;g19dcec343aa_7_101"/>
          <p:cNvSpPr txBox="1"/>
          <p:nvPr/>
        </p:nvSpPr>
        <p:spPr>
          <a:xfrm>
            <a:off x="756401" y="4917623"/>
            <a:ext cx="4406842" cy="369332"/>
          </a:xfrm>
          <a:prstGeom prst="rect"/>
          <a:solidFill>
            <a:srgbClr val="E5EBED"/>
          </a:solidFill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sz="1800" lang="en-ID">
                <a:solidFill>
                  <a:srgbClr val="000000"/>
                </a:solidFill>
                <a:latin typeface="Fredoka One"/>
                <a:ea typeface="Fredoka One"/>
                <a:cs typeface="Fredoka One"/>
                <a:sym typeface="Fredoka One"/>
              </a:rPr>
              <a:t>Business Metrics</a:t>
            </a:r>
            <a:r>
              <a:rPr dirty="0" sz="1800" i="0" lang="en-ID" strike="noStrike" u="none">
                <a:solidFill>
                  <a:srgbClr val="000000"/>
                </a:solidFill>
                <a:latin typeface="Fredoka One"/>
                <a:ea typeface="Fredoka One"/>
                <a:cs typeface="Fredoka One"/>
                <a:sym typeface="Fredoka One"/>
              </a:rPr>
              <a:t>        </a:t>
            </a:r>
            <a:endParaRPr dirty="0" sz="1800">
              <a:solidFill>
                <a:srgbClr val="403D52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192" name="Google Shape;938;g19dcec343aa_7_101"/>
          <p:cNvGrpSpPr/>
          <p:nvPr/>
        </p:nvGrpSpPr>
        <p:grpSpPr>
          <a:xfrm>
            <a:off x="7776211" y="1482188"/>
            <a:ext cx="4000500" cy="3380482"/>
            <a:chOff x="5753100" y="2277969"/>
            <a:chExt cx="4000500" cy="3380482"/>
          </a:xfrm>
        </p:grpSpPr>
        <p:sp>
          <p:nvSpPr>
            <p:cNvPr id="1048798" name="Google Shape;939;g19dcec343aa_7_101"/>
            <p:cNvSpPr txBox="1"/>
            <p:nvPr/>
          </p:nvSpPr>
          <p:spPr>
            <a:xfrm>
              <a:off x="5768340" y="2277969"/>
              <a:ext cx="3867149" cy="369332"/>
            </a:xfrm>
            <a:prstGeom prst="rect"/>
            <a:solidFill>
              <a:srgbClr val="E5EBED"/>
            </a:solidFill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sz="1800" i="0" lang="en-ID" strike="noStrike" u="none">
                  <a:solidFill>
                    <a:srgbClr val="000000"/>
                  </a:solidFill>
                  <a:latin typeface="Fredoka One"/>
                  <a:ea typeface="Fredoka One"/>
                  <a:cs typeface="Fredoka One"/>
                  <a:sym typeface="Fredoka One"/>
                </a:rPr>
                <a:t>Objective</a:t>
              </a:r>
              <a:endParaRPr sz="1800">
                <a:solidFill>
                  <a:srgbClr val="403D52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799" name="Google Shape;940;g19dcec343aa_7_101"/>
            <p:cNvSpPr txBox="1"/>
            <p:nvPr/>
          </p:nvSpPr>
          <p:spPr>
            <a:xfrm>
              <a:off x="5753100" y="2633352"/>
              <a:ext cx="4000500" cy="3025099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just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0" sz="1800" i="0" lang="en-ID" strike="noStrike" u="none">
                  <a:solidFill>
                    <a:schemeClr val="dk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Form a machine learning model with the smallest false negative, identify predictors/factors that influence churn rate and lost opportunity customer churn, and predict customers who have the potential to churn with machine learning models. As well as providing insights &amp; recommendations to identify predictors/factors that influence the churn rate and tenure.</a:t>
              </a:r>
              <a:endParaRPr sz="18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</p:grpSp>
      <p:sp>
        <p:nvSpPr>
          <p:cNvPr id="1048800" name="Google Shape;941;g19dcec343aa_7_101"/>
          <p:cNvSpPr txBox="1"/>
          <p:nvPr/>
        </p:nvSpPr>
        <p:spPr>
          <a:xfrm>
            <a:off x="1549777" y="5347915"/>
            <a:ext cx="4147762" cy="493340"/>
          </a:xfrm>
          <a:prstGeom prst="rect"/>
          <a:blipFill rotWithShape="1">
            <a:blip xmlns:r="http://schemas.openxmlformats.org/officeDocument/2006/relationships" r:embed="rId2">
              <a:alphaModFix/>
            </a:blip>
            <a:stretch>
              <a:fillRect l="-1174" b="-6172"/>
            </a:stretch>
          </a:blipFill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sz="1800" lang="en-ID">
                <a:latin typeface="Calibri"/>
                <a:ea typeface="Calibri"/>
                <a:cs typeface="Calibri"/>
                <a:sym typeface="Calibri"/>
              </a:rPr>
              <a:t> </a:t>
            </a:r>
          </a:p>
        </p:txBody>
      </p:sp>
      <p:sp>
        <p:nvSpPr>
          <p:cNvPr id="1048801" name="Google Shape;942;g19dcec343aa_7_101"/>
          <p:cNvSpPr txBox="1"/>
          <p:nvPr/>
        </p:nvSpPr>
        <p:spPr>
          <a:xfrm>
            <a:off x="2101348" y="6000315"/>
            <a:ext cx="2708815" cy="380947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p>
            <a:pPr algn="just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sz="1800" lang="en-ID">
                <a:solidFill>
                  <a:srgbClr val="000000"/>
                </a:solidFill>
                <a:latin typeface="Lemon"/>
                <a:ea typeface="Lemon"/>
                <a:cs typeface="Lemon"/>
                <a:sym typeface="Lemon"/>
              </a:rPr>
              <a:t>Lost Opportunity</a:t>
            </a:r>
            <a:endParaRPr b="1" sz="1800" strike="noStrike" u="none">
              <a:solidFill>
                <a:srgbClr val="000000"/>
              </a:solidFill>
              <a:latin typeface="Fredoka One"/>
              <a:ea typeface="Fredoka One"/>
              <a:cs typeface="Fredoka One"/>
              <a:sym typeface="Fredoka One"/>
            </a:endParaRPr>
          </a:p>
        </p:txBody>
      </p:sp>
      <p:grpSp>
        <p:nvGrpSpPr>
          <p:cNvPr id="193" name="Google Shape;943;g19dcec343aa_7_101"/>
          <p:cNvGrpSpPr/>
          <p:nvPr/>
        </p:nvGrpSpPr>
        <p:grpSpPr>
          <a:xfrm>
            <a:off x="5273171" y="6256699"/>
            <a:ext cx="1645423" cy="324361"/>
            <a:chOff x="12234906" y="1943100"/>
            <a:chExt cx="2319294" cy="457200"/>
          </a:xfrm>
        </p:grpSpPr>
        <p:sp>
          <p:nvSpPr>
            <p:cNvPr id="1048802" name="Google Shape;944;g19dcec343aa_7_101"/>
            <p:cNvSpPr/>
            <p:nvPr/>
          </p:nvSpPr>
          <p:spPr>
            <a:xfrm>
              <a:off x="12877800" y="1943100"/>
              <a:ext cx="457200" cy="457200"/>
            </a:xfrm>
            <a:prstGeom prst="flowChartConnector"/>
            <a:solidFill>
              <a:srgbClr val="305CBD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803" name="Google Shape;945;g19dcec343aa_7_101"/>
            <p:cNvSpPr/>
            <p:nvPr/>
          </p:nvSpPr>
          <p:spPr>
            <a:xfrm>
              <a:off x="12234906" y="1943100"/>
              <a:ext cx="457200" cy="457200"/>
            </a:xfrm>
            <a:prstGeom prst="flowChartConnector"/>
            <a:solidFill>
              <a:srgbClr val="394A89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804" name="Google Shape;946;g19dcec343aa_7_101"/>
            <p:cNvSpPr/>
            <p:nvPr/>
          </p:nvSpPr>
          <p:spPr>
            <a:xfrm>
              <a:off x="13475421" y="1943100"/>
              <a:ext cx="457201" cy="457200"/>
            </a:xfrm>
            <a:prstGeom prst="flowChartConnector"/>
            <a:solidFill>
              <a:srgbClr val="BBD6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  <p:sp>
          <p:nvSpPr>
            <p:cNvPr id="1048805" name="Google Shape;947;g19dcec343aa_7_101"/>
            <p:cNvSpPr/>
            <p:nvPr/>
          </p:nvSpPr>
          <p:spPr>
            <a:xfrm>
              <a:off x="14097000" y="1943100"/>
              <a:ext cx="457200" cy="457200"/>
            </a:xfrm>
            <a:prstGeom prst="flowChartConnector"/>
            <a:solidFill>
              <a:srgbClr val="E7ECEE"/>
            </a:solidFill>
            <a:ln>
              <a:noFill/>
            </a:ln>
          </p:spPr>
          <p:txBody>
            <a:bodyPr anchor="ctr" anchorCtr="0" bIns="45700" lIns="91425" rIns="91425" spcFirstLastPara="1" tIns="45700" wrap="square">
              <a:noAutofit/>
            </a:bodyPr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Fredoka One"/>
                <a:ea typeface="Fredoka One"/>
                <a:cs typeface="Fredoka One"/>
                <a:sym typeface="Fredoka One"/>
              </a:endParaRPr>
            </a:p>
          </p:txBody>
        </p:sp>
      </p:grpSp>
      <p:cxnSp>
        <p:nvCxnSpPr>
          <p:cNvPr id="3145728" name="Google Shape;948;g19dcec343aa_7_101"/>
          <p:cNvCxnSpPr>
            <a:cxnSpLocks/>
          </p:cNvCxnSpPr>
          <p:nvPr/>
        </p:nvCxnSpPr>
        <p:spPr>
          <a:xfrm rot="10800000">
            <a:off x="7643554" y="1280160"/>
            <a:ext cx="4015046" cy="0"/>
          </a:xfrm>
          <a:prstGeom prst="straightConnector1"/>
          <a:noFill/>
          <a:ln w="28575" cap="flat" cmpd="sng">
            <a:solidFill>
              <a:srgbClr val="394A89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145729" name="Google Shape;949;g19dcec343aa_7_101"/>
          <p:cNvCxnSpPr>
            <a:cxnSpLocks/>
          </p:cNvCxnSpPr>
          <p:nvPr/>
        </p:nvCxnSpPr>
        <p:spPr>
          <a:xfrm rot="10800000">
            <a:off x="5213122" y="2895600"/>
            <a:ext cx="2430432" cy="0"/>
          </a:xfrm>
          <a:prstGeom prst="straightConnector1"/>
          <a:noFill/>
          <a:ln w="28575" cap="flat" cmpd="sng">
            <a:solidFill>
              <a:srgbClr val="394A89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145730" name="Google Shape;950;g19dcec343aa_7_101"/>
          <p:cNvCxnSpPr>
            <a:cxnSpLocks/>
          </p:cNvCxnSpPr>
          <p:nvPr/>
        </p:nvCxnSpPr>
        <p:spPr>
          <a:xfrm rot="10800000">
            <a:off x="734987" y="4739640"/>
            <a:ext cx="4478135" cy="0"/>
          </a:xfrm>
          <a:prstGeom prst="straightConnector1"/>
          <a:noFill/>
          <a:ln w="28575" cap="flat" cmpd="sng">
            <a:solidFill>
              <a:srgbClr val="394A89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145731" name="Google Shape;951;g19dcec343aa_7_101"/>
          <p:cNvCxnSpPr>
            <a:cxnSpLocks/>
          </p:cNvCxnSpPr>
          <p:nvPr/>
        </p:nvCxnSpPr>
        <p:spPr>
          <a:xfrm>
            <a:off x="7660988" y="1280160"/>
            <a:ext cx="0" cy="1615440"/>
          </a:xfrm>
          <a:prstGeom prst="straightConnector1"/>
          <a:noFill/>
          <a:ln w="28575" cap="flat" cmpd="sng">
            <a:solidFill>
              <a:srgbClr val="394A89"/>
            </a:solidFill>
            <a:prstDash val="dash"/>
            <a:miter lim="800000"/>
            <a:headEnd type="none" w="sm" len="sm"/>
            <a:tailEnd type="triangle" w="med" len="med"/>
          </a:ln>
        </p:spPr>
      </p:cxnSp>
      <p:cxnSp>
        <p:nvCxnSpPr>
          <p:cNvPr id="3145732" name="Google Shape;952;g19dcec343aa_7_101"/>
          <p:cNvCxnSpPr>
            <a:cxnSpLocks/>
          </p:cNvCxnSpPr>
          <p:nvPr/>
        </p:nvCxnSpPr>
        <p:spPr>
          <a:xfrm>
            <a:off x="5213122" y="2895600"/>
            <a:ext cx="0" cy="1844040"/>
          </a:xfrm>
          <a:prstGeom prst="straightConnector1"/>
          <a:noFill/>
          <a:ln w="28575" cap="flat" cmpd="sng">
            <a:solidFill>
              <a:srgbClr val="394A89"/>
            </a:solidFill>
            <a:prstDash val="dash"/>
            <a:miter lim="800000"/>
            <a:headEnd type="none" w="sm" len="sm"/>
            <a:tailEnd type="triangle" w="med" len="med"/>
          </a:ln>
        </p:spPr>
      </p:cxnSp>
      <p:pic>
        <p:nvPicPr>
          <p:cNvPr id="2097164" name="Google Shape;953;g19dcec343aa_7_101"/>
          <p:cNvPicPr preferRelativeResize="0">
            <a:picLocks/>
          </p:cNvPicPr>
          <p:nvPr/>
        </p:nvPicPr>
        <p:blipFill rotWithShape="1">
          <a:blip xmlns:r="http://schemas.openxmlformats.org/officeDocument/2006/relationships" r:embed="rId3">
            <a:alphaModFix/>
          </a:blip>
          <a:srcRect/>
          <a:stretch>
            <a:fillRect/>
          </a:stretch>
        </p:blipFill>
        <p:spPr>
          <a:xfrm>
            <a:off x="183608" y="1313188"/>
            <a:ext cx="2897050" cy="1444557"/>
          </a:xfrm>
          <a:prstGeom prst="rect"/>
          <a:noFill/>
          <a:ln>
            <a:noFill/>
          </a:ln>
        </p:spPr>
      </p:pic>
      <p:grpSp>
        <p:nvGrpSpPr>
          <p:cNvPr id="194" name="Google Shape;954;g19dcec343aa_7_101"/>
          <p:cNvGrpSpPr/>
          <p:nvPr/>
        </p:nvGrpSpPr>
        <p:grpSpPr>
          <a:xfrm>
            <a:off x="-30592" y="2837332"/>
            <a:ext cx="4598269" cy="1406120"/>
            <a:chOff x="459268" y="2924418"/>
            <a:chExt cx="4598269" cy="1406120"/>
          </a:xfrm>
        </p:grpSpPr>
        <p:sp>
          <p:nvSpPr>
            <p:cNvPr id="1048806" name="Google Shape;955;g19dcec343aa_7_101"/>
            <p:cNvSpPr txBox="1"/>
            <p:nvPr/>
          </p:nvSpPr>
          <p:spPr>
            <a:xfrm>
              <a:off x="459268" y="2924418"/>
              <a:ext cx="4598269" cy="574000"/>
            </a:xfrm>
            <a:prstGeom prst="rect"/>
            <a:noFill/>
            <a:ln>
              <a:noFill/>
            </a:ln>
          </p:spPr>
          <p:txBody>
            <a:bodyPr anchor="t" anchorCtr="0" bIns="45700" lIns="91425" rIns="91425" spcFirstLastPara="1" tIns="45700" wrap="square">
              <a:spAutoFit/>
            </a:bodyPr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sz="1600" lang="en-ID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hina Internet Network Information Center (CNNIC)</a:t>
              </a:r>
            </a:p>
          </p:txBody>
        </p:sp>
        <p:grpSp>
          <p:nvGrpSpPr>
            <p:cNvPr id="195" name="Google Shape;956;g19dcec343aa_7_101"/>
            <p:cNvGrpSpPr/>
            <p:nvPr/>
          </p:nvGrpSpPr>
          <p:grpSpPr>
            <a:xfrm>
              <a:off x="492282" y="2941140"/>
              <a:ext cx="4438709" cy="1389398"/>
              <a:chOff x="557242" y="2743595"/>
              <a:chExt cx="4438709" cy="1389398"/>
            </a:xfrm>
          </p:grpSpPr>
          <p:sp>
            <p:nvSpPr>
              <p:cNvPr id="1048807" name="Google Shape;957;g19dcec343aa_7_101"/>
              <p:cNvSpPr txBox="1"/>
              <p:nvPr/>
            </p:nvSpPr>
            <p:spPr>
              <a:xfrm>
                <a:off x="1106193" y="3055775"/>
                <a:ext cx="3374767" cy="1077218"/>
              </a:xfrm>
              <a:prstGeom prst="rect"/>
              <a:solidFill>
                <a:srgbClr val="E7ECEE"/>
              </a:solidFill>
              <a:ln>
                <a:noFill/>
              </a:ln>
            </p:spPr>
            <p:txBody>
              <a:bodyPr anchor="t" anchorCtr="0" bIns="45700" lIns="91425" rIns="91425" spcFirstLastPara="1" tIns="45700" wrap="square">
                <a:spAutoFit/>
              </a:bodyPr>
              <a:p>
                <a:pPr algn="just" indent="0" lvl="0" marL="0" marR="0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sz="1600" lang="en-ID">
                    <a:solidFill>
                      <a:schemeClr val="dk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rPr>
                  <a:t>The E-commerce customer churn rate is up to </a:t>
                </a:r>
                <a:r>
                  <a:rPr b="1" sz="1600" lang="en-ID">
                    <a:solidFill>
                      <a:schemeClr val="dk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rPr>
                  <a:t>80%</a:t>
                </a:r>
                <a:r>
                  <a:rPr sz="1600" lang="en-ID">
                    <a:solidFill>
                      <a:schemeClr val="dk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rPr>
                  <a:t> compared with traditional business customer management (Wu &amp; Meng, 2016)</a:t>
                </a:r>
                <a:endParaRPr sz="1600">
                  <a:solidFill>
                    <a:schemeClr val="dk1"/>
                  </a:solidFill>
                  <a:latin typeface="Times New Roman"/>
                  <a:ea typeface="Times New Roman"/>
                  <a:cs typeface="Times New Roman"/>
                  <a:sym typeface="Times New Roman"/>
                </a:endParaRPr>
              </a:p>
            </p:txBody>
          </p:sp>
          <p:cxnSp>
            <p:nvCxnSpPr>
              <p:cNvPr id="3145733" name="Google Shape;958;g19dcec343aa_7_101"/>
              <p:cNvCxnSpPr>
                <a:cxnSpLocks/>
              </p:cNvCxnSpPr>
              <p:nvPr/>
            </p:nvCxnSpPr>
            <p:spPr>
              <a:xfrm>
                <a:off x="557242" y="3042361"/>
                <a:ext cx="4438709" cy="0"/>
              </a:xfrm>
              <a:prstGeom prst="straightConnector1"/>
              <a:noFill/>
              <a:ln w="19050" cap="flat" cmpd="sng">
                <a:solidFill>
                  <a:srgbClr val="BED8F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145734" name="Google Shape;959;g19dcec343aa_7_101"/>
              <p:cNvCxnSpPr>
                <a:cxnSpLocks/>
              </p:cNvCxnSpPr>
              <p:nvPr/>
            </p:nvCxnSpPr>
            <p:spPr>
              <a:xfrm rot="10800000" flipH="1">
                <a:off x="557242" y="2743595"/>
                <a:ext cx="4438709" cy="14642"/>
              </a:xfrm>
              <a:prstGeom prst="straightConnector1"/>
              <a:noFill/>
              <a:ln w="19050" cap="flat" cmpd="sng">
                <a:solidFill>
                  <a:srgbClr val="BED8F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</p:grp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7"/>
                                        <p:tgtEl>
                                          <p:spTgt spid="2097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8" nodeType="withEffect" presetClass="entr" presetID="2" presetSubtype="8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0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11">
                      <p:stCondLst>
                        <p:cond delay="indefinite"/>
                      </p:stCondLst>
                      <p:childTnLst>
                        <p:par>
                          <p:cTn fill="hold" id="12">
                            <p:stCondLst>
                              <p:cond delay="0"/>
                            </p:stCondLst>
                            <p:childTnLst>
                              <p:par>
                                <p:cTn fill="hold" id="13" nodeType="clickEffect" presetClass="entr" presetID="2" presetSubtype="8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5"/>
                                        <p:tgtEl>
                                          <p:spTgt spid="2097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6" nodeType="withEffect" presetClass="entr" presetID="2" presetSubtype="8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18"/>
                                        <p:tgtEl>
                                          <p:spTgt spid="10487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9" nodeType="withEffect" presetClass="entr" presetID="2" presetSubtype="8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dur="1" fill="hold" id="2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 id="21"/>
                                        <p:tgtEl>
                                          <p:spTgt spid="10487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22">
                      <p:stCondLst>
                        <p:cond delay="indefinite"/>
                      </p:stCondLst>
                      <p:childTnLst>
                        <p:par>
                          <p:cTn fill="hold" id="23">
                            <p:stCondLst>
                              <p:cond delay="0"/>
                            </p:stCondLst>
                            <p:childTnLst>
                              <p:par>
                                <p:cTn fill="hold" id="24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6"/>
                                        <p:tgtEl>
                                          <p:spTgt spid="31457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29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30">
                      <p:stCondLst>
                        <p:cond delay="indefinite"/>
                      </p:stCondLst>
                      <p:childTnLst>
                        <p:par>
                          <p:cTn fill="hold" id="31">
                            <p:stCondLst>
                              <p:cond delay="0"/>
                            </p:stCondLst>
                            <p:childTnLst>
                              <p:par>
                                <p:cTn fill="hold" id="32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4"/>
                                        <p:tgtEl>
                                          <p:spTgt spid="31457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5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3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37"/>
                                        <p:tgtEl>
                                          <p:spTgt spid="31457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8" nodeType="withEffect" presetClass="entr" presetID="10" presetSubtype="0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dur="1" fill="hold" id="39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 id="41">
                      <p:stCondLst>
                        <p:cond delay="indefinite"/>
                      </p:stCondLst>
                      <p:childTnLst>
                        <p:par>
                          <p:cTn fill="hold" id="42">
                            <p:stCondLst>
                              <p:cond delay="0"/>
                            </p:stCondLst>
                            <p:childTnLst>
                              <p:par>
                                <p:cTn fill="hold" id="43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5"/>
                                        <p:tgtEl>
                                          <p:spTgt spid="31457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6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4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5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48"/>
                                        <p:tgtEl>
                                          <p:spTgt spid="31457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49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7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1"/>
                                        <p:tgtEl>
                                          <p:spTgt spid="10487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2" nodeType="withEffect" presetClass="entr" presetID="10" presetSubtype="0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dur="1" fill="hold" id="5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4"/>
                                        <p:tgtEl>
                                          <p:spTgt spid="10488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5" nodeType="withEffect" presetClass="entr" presetID="10" presetSubtype="0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dur="1" fill="hold" id="5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dur="500" id="57"/>
                                        <p:tgtEl>
                                          <p:spTgt spid="10488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ARTICULATE_SLIDE_THUMBNAIL_REFRESH" val="1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Retato Slideshow by Slidesgo">
  <a:themeElements>
    <a:clrScheme name="Simple Light">
      <a:dk1>
        <a:srgbClr val="263238"/>
      </a:dk1>
      <a:lt1>
        <a:srgbClr val="FFFFFF"/>
      </a:lt1>
      <a:dk2>
        <a:srgbClr val="263238"/>
      </a:dk2>
      <a:lt2>
        <a:srgbClr val="EEEEEE"/>
      </a:lt2>
      <a:accent1>
        <a:srgbClr val="F5F5F5"/>
      </a:accent1>
      <a:accent2>
        <a:srgbClr val="407BFF"/>
      </a:accent2>
      <a:accent3>
        <a:srgbClr val="305DBF"/>
      </a:accent3>
      <a:accent4>
        <a:srgbClr val="455A64"/>
      </a:accent4>
      <a:accent5>
        <a:srgbClr val="E0E0E0"/>
      </a:accent5>
      <a:accent6>
        <a:srgbClr val="203E80"/>
      </a:accent6>
      <a:hlink>
        <a:srgbClr val="263238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>
  <Application>Microsoft Office PowerPoint</Application>
  <ScaleCrop>0</ScaleCrop>
  <LinksUpToDate>0</LinksUpToDate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>
  <dc:title>PowerPoint Presentation</dc:title>
  <dc:creator>rafli</dc:creator>
  <cp:lastModifiedBy>nur amilah</cp:lastModifiedBy>
  <dcterms:created xsi:type="dcterms:W3CDTF">2021-08-08T17:09:01Z</dcterms:created>
  <dcterms:modified xsi:type="dcterms:W3CDTF">2022-12-01T00:52:23Z</dcterms:modified>
</cp:coreProperties>
</file>